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6.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7.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8.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9.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0.xml" ContentType="application/vnd.openxmlformats-officedocument.presentationml.notesSlide+xml"/>
  <Override PartName="/ppt/tags/tag114.xml" ContentType="application/vnd.openxmlformats-officedocument.presentationml.tags+xml"/>
  <Override PartName="/ppt/notesSlides/notesSlide11.xml" ContentType="application/vnd.openxmlformats-officedocument.presentationml.notesSlide+xml"/>
  <Override PartName="/ppt/tags/tag115.xml" ContentType="application/vnd.openxmlformats-officedocument.presentationml.tags+xml"/>
  <Override PartName="/ppt/notesSlides/notesSlide12.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2"/>
  </p:notesMasterIdLst>
  <p:handoutMasterIdLst>
    <p:handoutMasterId r:id="rId23"/>
  </p:handoutMasterIdLst>
  <p:sldIdLst>
    <p:sldId id="259" r:id="rId2"/>
    <p:sldId id="264" r:id="rId3"/>
    <p:sldId id="281" r:id="rId4"/>
    <p:sldId id="282" r:id="rId5"/>
    <p:sldId id="270" r:id="rId6"/>
    <p:sldId id="266" r:id="rId7"/>
    <p:sldId id="267" r:id="rId8"/>
    <p:sldId id="279" r:id="rId9"/>
    <p:sldId id="280" r:id="rId10"/>
    <p:sldId id="288" r:id="rId11"/>
    <p:sldId id="283" r:id="rId12"/>
    <p:sldId id="289" r:id="rId13"/>
    <p:sldId id="272" r:id="rId14"/>
    <p:sldId id="268" r:id="rId15"/>
    <p:sldId id="269" r:id="rId16"/>
    <p:sldId id="284" r:id="rId17"/>
    <p:sldId id="285" r:id="rId18"/>
    <p:sldId id="286" r:id="rId19"/>
    <p:sldId id="287" r:id="rId20"/>
    <p:sldId id="277" r:id="rId21"/>
  </p:sldIdLst>
  <p:sldSz cx="12192000" cy="6858000"/>
  <p:notesSz cx="6950075" cy="9236075"/>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9491"/>
    <a:srgbClr val="6E6F73"/>
    <a:srgbClr val="670F31"/>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882" autoAdjust="0"/>
    <p:restoredTop sz="96323" autoAdjust="0"/>
  </p:normalViewPr>
  <p:slideViewPr>
    <p:cSldViewPr snapToGrid="0">
      <p:cViewPr varScale="1">
        <p:scale>
          <a:sx n="86" d="100"/>
          <a:sy n="86" d="100"/>
        </p:scale>
        <p:origin x="797"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8/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8/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478278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924810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2852331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3126554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471237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4205729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462123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08222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307884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345806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2197563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6869563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7"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00.xml"/><Relationship Id="rId7" Type="http://schemas.openxmlformats.org/officeDocument/2006/relationships/image" Target="../media/image10.emf"/><Relationship Id="rId2" Type="http://schemas.openxmlformats.org/officeDocument/2006/relationships/tags" Target="../tags/tag99.xml"/><Relationship Id="rId1" Type="http://schemas.openxmlformats.org/officeDocument/2006/relationships/vmlDrawing" Target="../drawings/vmlDrawing28.vml"/><Relationship Id="rId6" Type="http://schemas.openxmlformats.org/officeDocument/2006/relationships/oleObject" Target="../embeddings/oleObject26.bin"/><Relationship Id="rId5" Type="http://schemas.openxmlformats.org/officeDocument/2006/relationships/notesSlide" Target="../notesSlides/notesSlide6.xml"/><Relationship Id="rId10" Type="http://schemas.openxmlformats.org/officeDocument/2006/relationships/image" Target="../media/image26.png"/><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02.xml"/><Relationship Id="rId7" Type="http://schemas.openxmlformats.org/officeDocument/2006/relationships/image" Target="../media/image10.emf"/><Relationship Id="rId2" Type="http://schemas.openxmlformats.org/officeDocument/2006/relationships/tags" Target="../tags/tag101.xml"/><Relationship Id="rId1" Type="http://schemas.openxmlformats.org/officeDocument/2006/relationships/vmlDrawing" Target="../drawings/vmlDrawing29.vml"/><Relationship Id="rId6" Type="http://schemas.openxmlformats.org/officeDocument/2006/relationships/oleObject" Target="../embeddings/oleObject28.bin"/><Relationship Id="rId11" Type="http://schemas.openxmlformats.org/officeDocument/2006/relationships/image" Target="../media/image30.png"/><Relationship Id="rId5" Type="http://schemas.openxmlformats.org/officeDocument/2006/relationships/notesSlide" Target="../notesSlides/notesSlide7.xml"/><Relationship Id="rId10" Type="http://schemas.openxmlformats.org/officeDocument/2006/relationships/image" Target="../media/image29.png"/><Relationship Id="rId4" Type="http://schemas.openxmlformats.org/officeDocument/2006/relationships/slideLayout" Target="../slideLayouts/slideLayout2.xml"/><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31.png"/><Relationship Id="rId2" Type="http://schemas.openxmlformats.org/officeDocument/2006/relationships/tags" Target="../tags/tag103.xml"/><Relationship Id="rId1" Type="http://schemas.openxmlformats.org/officeDocument/2006/relationships/vmlDrawing" Target="../drawings/vmlDrawing30.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31.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0.emf"/><Relationship Id="rId2" Type="http://schemas.openxmlformats.org/officeDocument/2006/relationships/tags" Target="../tags/tag107.xml"/><Relationship Id="rId1" Type="http://schemas.openxmlformats.org/officeDocument/2006/relationships/vmlDrawing" Target="../drawings/vmlDrawing32.vml"/><Relationship Id="rId6" Type="http://schemas.openxmlformats.org/officeDocument/2006/relationships/oleObject" Target="../embeddings/oleObject30.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10.emf"/><Relationship Id="rId2" Type="http://schemas.openxmlformats.org/officeDocument/2006/relationships/tags" Target="../tags/tag109.xml"/><Relationship Id="rId1" Type="http://schemas.openxmlformats.org/officeDocument/2006/relationships/vmlDrawing" Target="../drawings/vmlDrawing33.vml"/><Relationship Id="rId6" Type="http://schemas.openxmlformats.org/officeDocument/2006/relationships/oleObject" Target="../embeddings/oleObject31.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1.xml"/><Relationship Id="rId1" Type="http://schemas.openxmlformats.org/officeDocument/2006/relationships/vmlDrawing" Target="../drawings/vmlDrawing34.vml"/><Relationship Id="rId5" Type="http://schemas.openxmlformats.org/officeDocument/2006/relationships/image" Target="../media/image10.emf"/><Relationship Id="rId4" Type="http://schemas.openxmlformats.org/officeDocument/2006/relationships/oleObject" Target="../embeddings/oleObject32.bin"/></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13.xml"/><Relationship Id="rId7" Type="http://schemas.openxmlformats.org/officeDocument/2006/relationships/image" Target="../media/image10.emf"/><Relationship Id="rId2" Type="http://schemas.openxmlformats.org/officeDocument/2006/relationships/tags" Target="../tags/tag112.xml"/><Relationship Id="rId1" Type="http://schemas.openxmlformats.org/officeDocument/2006/relationships/vmlDrawing" Target="../drawings/vmlDrawing35.vml"/><Relationship Id="rId6" Type="http://schemas.openxmlformats.org/officeDocument/2006/relationships/oleObject" Target="../embeddings/oleObject33.bin"/><Relationship Id="rId5" Type="http://schemas.openxmlformats.org/officeDocument/2006/relationships/notesSlide" Target="../notesSlides/notesSlide10.xml"/><Relationship Id="rId10" Type="http://schemas.openxmlformats.org/officeDocument/2006/relationships/image" Target="../media/image34.png"/><Relationship Id="rId4" Type="http://schemas.openxmlformats.org/officeDocument/2006/relationships/slideLayout" Target="../slideLayouts/slideLayout2.xml"/><Relationship Id="rId9"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114.xml"/><Relationship Id="rId1" Type="http://schemas.openxmlformats.org/officeDocument/2006/relationships/vmlDrawing" Target="../drawings/vmlDrawing36.vml"/><Relationship Id="rId6" Type="http://schemas.openxmlformats.org/officeDocument/2006/relationships/image" Target="../media/image10.emf"/><Relationship Id="rId5" Type="http://schemas.openxmlformats.org/officeDocument/2006/relationships/oleObject" Target="../embeddings/oleObject34.bin"/><Relationship Id="rId10" Type="http://schemas.openxmlformats.org/officeDocument/2006/relationships/image" Target="../media/image38.png"/><Relationship Id="rId4" Type="http://schemas.openxmlformats.org/officeDocument/2006/relationships/notesSlide" Target="../notesSlides/notesSlide11.xml"/><Relationship Id="rId9" Type="http://schemas.openxmlformats.org/officeDocument/2006/relationships/image" Target="../media/image37.png"/></Relationships>
</file>

<file path=ppt/slides/_rels/slide19.xml.rels><?xml version="1.0" encoding="UTF-8" standalone="yes"?>
<Relationships xmlns="http://schemas.openxmlformats.org/package/2006/relationships"><Relationship Id="rId8" Type="http://schemas.openxmlformats.org/officeDocument/2006/relationships/hyperlink" Target="https://en.wikipedia.org/wiki/Serve_and_volley" TargetMode="External"/><Relationship Id="rId3" Type="http://schemas.openxmlformats.org/officeDocument/2006/relationships/slideLayout" Target="../slideLayouts/slideLayout2.xml"/><Relationship Id="rId7" Type="http://schemas.openxmlformats.org/officeDocument/2006/relationships/hyperlink" Target="https://en.wikipedia.org/wiki/Volley_(tennis)" TargetMode="External"/><Relationship Id="rId2" Type="http://schemas.openxmlformats.org/officeDocument/2006/relationships/tags" Target="../tags/tag115.xml"/><Relationship Id="rId1" Type="http://schemas.openxmlformats.org/officeDocument/2006/relationships/vmlDrawing" Target="../drawings/vmlDrawing37.vml"/><Relationship Id="rId6" Type="http://schemas.openxmlformats.org/officeDocument/2006/relationships/image" Target="../media/image10.emf"/><Relationship Id="rId5" Type="http://schemas.openxmlformats.org/officeDocument/2006/relationships/oleObject" Target="../embeddings/oleObject35.bin"/><Relationship Id="rId4" Type="http://schemas.openxmlformats.org/officeDocument/2006/relationships/notesSlide" Target="../notesSlides/notesSlide12.xml"/><Relationship Id="rId9" Type="http://schemas.openxmlformats.org/officeDocument/2006/relationships/hyperlink" Target="https://en.wikipedia.org/wiki/Drop_shot"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4.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117.xml"/><Relationship Id="rId7" Type="http://schemas.openxmlformats.org/officeDocument/2006/relationships/image" Target="../media/image10.emf"/><Relationship Id="rId2" Type="http://schemas.openxmlformats.org/officeDocument/2006/relationships/tags" Target="../tags/tag116.xml"/><Relationship Id="rId1" Type="http://schemas.openxmlformats.org/officeDocument/2006/relationships/vmlDrawing" Target="../drawings/vmlDrawing38.vml"/><Relationship Id="rId6" Type="http://schemas.openxmlformats.org/officeDocument/2006/relationships/oleObject" Target="../embeddings/oleObject36.bin"/><Relationship Id="rId5" Type="http://schemas.openxmlformats.org/officeDocument/2006/relationships/slideLayout" Target="../slideLayouts/slideLayout9.xml"/><Relationship Id="rId10" Type="http://schemas.openxmlformats.org/officeDocument/2006/relationships/image" Target="../media/image40.png"/><Relationship Id="rId4" Type="http://schemas.openxmlformats.org/officeDocument/2006/relationships/tags" Target="../tags/tag118.xml"/><Relationship Id="rId9" Type="http://schemas.openxmlformats.org/officeDocument/2006/relationships/image" Target="../media/image39.emf"/></Relationships>
</file>

<file path=ppt/slides/_rels/slide3.xml.rels><?xml version="1.0" encoding="UTF-8" standalone="yes"?>
<Relationships xmlns="http://schemas.openxmlformats.org/package/2006/relationships"><Relationship Id="rId8" Type="http://schemas.openxmlformats.org/officeDocument/2006/relationships/hyperlink" Target="https://www.ultimatetennisstatistics.com/" TargetMode="External"/><Relationship Id="rId3" Type="http://schemas.openxmlformats.org/officeDocument/2006/relationships/tags" Target="../tags/tag86.xml"/><Relationship Id="rId7" Type="http://schemas.openxmlformats.org/officeDocument/2006/relationships/hyperlink" Target="https://archive.ics.uci.edu/ml/datasets/Tennis+Major+Tournament+Match+Statistics" TargetMode="External"/><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9.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8.xml"/><Relationship Id="rId7" Type="http://schemas.openxmlformats.org/officeDocument/2006/relationships/image" Target="../media/image10.emf"/><Relationship Id="rId2" Type="http://schemas.openxmlformats.org/officeDocument/2006/relationships/tags" Target="../tags/tag8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xml"/><Relationship Id="rId10" Type="http://schemas.openxmlformats.org/officeDocument/2006/relationships/image" Target="../media/image14.png"/><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2.xml"/><Relationship Id="rId7" Type="http://schemas.openxmlformats.org/officeDocument/2006/relationships/image" Target="../media/image10.emf"/><Relationship Id="rId2" Type="http://schemas.openxmlformats.org/officeDocument/2006/relationships/tags" Target="../tags/tag9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xml"/><Relationship Id="rId10" Type="http://schemas.openxmlformats.org/officeDocument/2006/relationships/image" Target="../media/image17.png"/><Relationship Id="rId4" Type="http://schemas.openxmlformats.org/officeDocument/2006/relationships/slideLayout" Target="../slideLayouts/slideLayout2.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4.xml"/><Relationship Id="rId7" Type="http://schemas.openxmlformats.org/officeDocument/2006/relationships/image" Target="../media/image10.emf"/><Relationship Id="rId2" Type="http://schemas.openxmlformats.org/officeDocument/2006/relationships/tags" Target="../tags/tag93.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96.xml"/><Relationship Id="rId7"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8.xml"/><Relationship Id="rId7" Type="http://schemas.openxmlformats.org/officeDocument/2006/relationships/image" Target="../media/image10.emf"/><Relationship Id="rId2" Type="http://schemas.openxmlformats.org/officeDocument/2006/relationships/tags" Target="../tags/tag97.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5.xml"/><Relationship Id="rId10" Type="http://schemas.openxmlformats.org/officeDocument/2006/relationships/image" Target="../media/image23.png"/><Relationship Id="rId4" Type="http://schemas.openxmlformats.org/officeDocument/2006/relationships/slideLayout" Target="../slideLayouts/slideLayout2.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954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2"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a:xfrm>
            <a:off x="693660" y="1812338"/>
            <a:ext cx="10933200" cy="1606550"/>
          </a:xfrm>
        </p:spPr>
        <p:txBody>
          <a:bodyPr/>
          <a:lstStyle/>
          <a:p>
            <a:pPr algn="ctr"/>
            <a:r>
              <a:rPr lang="en-US" dirty="0"/>
              <a:t>Machine Learning Project:</a:t>
            </a:r>
            <a:br>
              <a:rPr lang="en-US" dirty="0"/>
            </a:br>
            <a:r>
              <a:rPr lang="en-US" dirty="0"/>
              <a:t>Tennis Analysis</a:t>
            </a:r>
          </a:p>
        </p:txBody>
      </p:sp>
      <p:grpSp>
        <p:nvGrpSpPr>
          <p:cNvPr id="22" name="Group 21"/>
          <p:cNvGrpSpPr/>
          <p:nvPr/>
        </p:nvGrpSpPr>
        <p:grpSpPr>
          <a:xfrm>
            <a:off x="2905242" y="3929605"/>
            <a:ext cx="5758405" cy="2500132"/>
            <a:chOff x="2772137" y="3929605"/>
            <a:chExt cx="5758405" cy="2500132"/>
          </a:xfrm>
        </p:grpSpPr>
        <p:sp>
          <p:nvSpPr>
            <p:cNvPr id="18" name="Rectangle 17"/>
            <p:cNvSpPr/>
            <p:nvPr/>
          </p:nvSpPr>
          <p:spPr>
            <a:xfrm>
              <a:off x="3848582" y="4273952"/>
              <a:ext cx="3749040"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p:cNvSpPr/>
            <p:nvPr/>
          </p:nvSpPr>
          <p:spPr>
            <a:xfrm>
              <a:off x="2772137" y="3929605"/>
              <a:ext cx="5758405" cy="2500132"/>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p:cNvSpPr/>
            <p:nvPr/>
          </p:nvSpPr>
          <p:spPr>
            <a:xfrm>
              <a:off x="2772137" y="4273952"/>
              <a:ext cx="5758405"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8" name="Straight Connector 7"/>
            <p:cNvCxnSpPr/>
            <p:nvPr/>
          </p:nvCxnSpPr>
          <p:spPr>
            <a:xfrm>
              <a:off x="5622405" y="3929605"/>
              <a:ext cx="0" cy="2500132"/>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848582" y="5121793"/>
              <a:ext cx="3749040"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72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2" name="think-cell Slide" r:id="rId6" imgW="410" imgH="409" progId="TCLayout.ActiveDocument.1">
                  <p:embed/>
                </p:oleObj>
              </mc:Choice>
              <mc:Fallback>
                <p:oleObj name="think-cell Slide" r:id="rId6" imgW="410" imgH="409"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sp>
        <p:nvSpPr>
          <p:cNvPr id="4" name="Rectangle 3"/>
          <p:cNvSpPr/>
          <p:nvPr/>
        </p:nvSpPr>
        <p:spPr>
          <a:xfrm>
            <a:off x="7041266" y="1713314"/>
            <a:ext cx="6096000" cy="892552"/>
          </a:xfrm>
          <a:prstGeom prst="rect">
            <a:avLst/>
          </a:prstGeom>
        </p:spPr>
        <p:txBody>
          <a:bodyPr>
            <a:spAutoFit/>
          </a:bodyPr>
          <a:lstStyle/>
          <a:p>
            <a:r>
              <a:rPr lang="en-US" sz="1600" dirty="0">
                <a:solidFill>
                  <a:schemeClr val="tx2">
                    <a:lumMod val="100000"/>
                  </a:schemeClr>
                </a:solidFill>
                <a:latin typeface="+mj-lt"/>
                <a:ea typeface="+mj-ea"/>
                <a:cs typeface="+mj-cs"/>
                <a:sym typeface="Trebuchet MS" panose="020B0603020202020204" pitchFamily="34" charset="0"/>
              </a:rPr>
              <a:t>Accuracy: 92.8%</a:t>
            </a:r>
          </a:p>
          <a:p>
            <a:br>
              <a:rPr lang="en-US" dirty="0"/>
            </a:br>
            <a:endParaRPr lang="en-US" dirty="0"/>
          </a:p>
        </p:txBody>
      </p:sp>
      <p:pic>
        <p:nvPicPr>
          <p:cNvPr id="5" name="Picture 4">
            <a:extLst>
              <a:ext uri="{FF2B5EF4-FFF2-40B4-BE49-F238E27FC236}">
                <a16:creationId xmlns:a16="http://schemas.microsoft.com/office/drawing/2014/main" id="{D9D83499-0EFB-4703-B156-4F49AF3EE122}"/>
              </a:ext>
            </a:extLst>
          </p:cNvPr>
          <p:cNvPicPr>
            <a:picLocks noChangeAspect="1"/>
          </p:cNvPicPr>
          <p:nvPr/>
        </p:nvPicPr>
        <p:blipFill>
          <a:blip r:embed="rId8"/>
          <a:stretch>
            <a:fillRect/>
          </a:stretch>
        </p:blipFill>
        <p:spPr>
          <a:xfrm>
            <a:off x="630000" y="1713314"/>
            <a:ext cx="6096000" cy="4442396"/>
          </a:xfrm>
          <a:prstGeom prst="rect">
            <a:avLst/>
          </a:prstGeom>
        </p:spPr>
      </p:pic>
      <p:pic>
        <p:nvPicPr>
          <p:cNvPr id="123906" name="Picture 2">
            <a:extLst>
              <a:ext uri="{FF2B5EF4-FFF2-40B4-BE49-F238E27FC236}">
                <a16:creationId xmlns:a16="http://schemas.microsoft.com/office/drawing/2014/main" id="{4E99F26C-6FED-4161-9526-D205ACA6DD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99532" y="2272399"/>
            <a:ext cx="4662467" cy="1660409"/>
          </a:xfrm>
          <a:prstGeom prst="rect">
            <a:avLst/>
          </a:prstGeom>
          <a:noFill/>
          <a:extLst>
            <a:ext uri="{909E8E84-426E-40DD-AFC4-6F175D3DCCD1}">
              <a14:hiddenFill xmlns:a14="http://schemas.microsoft.com/office/drawing/2010/main">
                <a:solidFill>
                  <a:srgbClr val="FFFFFF"/>
                </a:solidFill>
              </a14:hiddenFill>
            </a:ext>
          </a:extLst>
        </p:spPr>
      </p:pic>
      <p:pic>
        <p:nvPicPr>
          <p:cNvPr id="123908" name="Picture 4">
            <a:extLst>
              <a:ext uri="{FF2B5EF4-FFF2-40B4-BE49-F238E27FC236}">
                <a16:creationId xmlns:a16="http://schemas.microsoft.com/office/drawing/2014/main" id="{16146D33-D880-4631-9BC7-080EF166A4A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99532" y="4392005"/>
            <a:ext cx="4662468" cy="1763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22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4"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pic>
        <p:nvPicPr>
          <p:cNvPr id="109582" name="Picture 14" descr="https://lh5.googleusercontent.com/gkC2yYFz5v4MXGpt8mDBwHGtl6-iZd5kHZxuBFivi1EGH5D2ylt8-11hWyDmXQvlwVwmwJkbg2NHrtbZ4p_nUeEmeLDV7cBGgSm3yR-MBL9dLPalIKgrCY1Lr0E61JY6-2PtE5JCHC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000" y="1741768"/>
            <a:ext cx="4756112" cy="2584189"/>
          </a:xfrm>
          <a:prstGeom prst="rect">
            <a:avLst/>
          </a:prstGeom>
          <a:noFill/>
          <a:extLst>
            <a:ext uri="{909E8E84-426E-40DD-AFC4-6F175D3DCCD1}">
              <a14:hiddenFill xmlns:a14="http://schemas.microsoft.com/office/drawing/2010/main">
                <a:solidFill>
                  <a:srgbClr val="FFFFFF"/>
                </a:solidFill>
              </a14:hiddenFill>
            </a:ext>
          </a:extLst>
        </p:spPr>
      </p:pic>
      <p:pic>
        <p:nvPicPr>
          <p:cNvPr id="109584" name="Picture 16" descr="https://lh3.googleusercontent.com/vX2UZMq1M424I5p2ix06csBPvGDdSasex6mxWVUb54gj5guGsrkw4RGRzqOKgPvdZ8BicNUQ_r-vW3XHUx37RWUJ12IbIeMuioC1cULtZrH0GiBI_u4QlitOt_G_1QYAOutGKAA1Ad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9492" y="1741768"/>
            <a:ext cx="2933700" cy="24479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FFC48CE-7E59-49A9-A186-E9DEC600B8F8}"/>
              </a:ext>
            </a:extLst>
          </p:cNvPr>
          <p:cNvSpPr txBox="1"/>
          <p:nvPr/>
        </p:nvSpPr>
        <p:spPr>
          <a:xfrm>
            <a:off x="630000" y="12845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a pleasant sight:</a:t>
            </a:r>
          </a:p>
        </p:txBody>
      </p:sp>
      <p:sp>
        <p:nvSpPr>
          <p:cNvPr id="9" name="TextBox 8">
            <a:extLst>
              <a:ext uri="{FF2B5EF4-FFF2-40B4-BE49-F238E27FC236}">
                <a16:creationId xmlns:a16="http://schemas.microsoft.com/office/drawing/2014/main" id="{AA44264B-94D2-4D03-91DE-A386127B7D31}"/>
              </a:ext>
            </a:extLst>
          </p:cNvPr>
          <p:cNvSpPr txBox="1"/>
          <p:nvPr/>
        </p:nvSpPr>
        <p:spPr>
          <a:xfrm>
            <a:off x="630000" y="43809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not:</a:t>
            </a:r>
          </a:p>
        </p:txBody>
      </p:sp>
      <p:pic>
        <p:nvPicPr>
          <p:cNvPr id="5" name="Picture 4">
            <a:extLst>
              <a:ext uri="{FF2B5EF4-FFF2-40B4-BE49-F238E27FC236}">
                <a16:creationId xmlns:a16="http://schemas.microsoft.com/office/drawing/2014/main" id="{BB036099-9CC4-4A1D-943A-4CDC729441E3}"/>
              </a:ext>
            </a:extLst>
          </p:cNvPr>
          <p:cNvPicPr>
            <a:picLocks noChangeAspect="1"/>
          </p:cNvPicPr>
          <p:nvPr/>
        </p:nvPicPr>
        <p:blipFill>
          <a:blip r:embed="rId10"/>
          <a:stretch>
            <a:fillRect/>
          </a:stretch>
        </p:blipFill>
        <p:spPr>
          <a:xfrm>
            <a:off x="630000" y="4838168"/>
            <a:ext cx="4113743" cy="1836009"/>
          </a:xfrm>
          <a:prstGeom prst="rect">
            <a:avLst/>
          </a:prstGeom>
        </p:spPr>
      </p:pic>
      <p:pic>
        <p:nvPicPr>
          <p:cNvPr id="6" name="Picture 5">
            <a:extLst>
              <a:ext uri="{FF2B5EF4-FFF2-40B4-BE49-F238E27FC236}">
                <a16:creationId xmlns:a16="http://schemas.microsoft.com/office/drawing/2014/main" id="{18A00316-9D96-46D5-919B-58DCD98641F0}"/>
              </a:ext>
            </a:extLst>
          </p:cNvPr>
          <p:cNvPicPr>
            <a:picLocks noChangeAspect="1"/>
          </p:cNvPicPr>
          <p:nvPr/>
        </p:nvPicPr>
        <p:blipFill>
          <a:blip r:embed="rId11"/>
          <a:stretch>
            <a:fillRect/>
          </a:stretch>
        </p:blipFill>
        <p:spPr>
          <a:xfrm>
            <a:off x="6092717" y="4609568"/>
            <a:ext cx="2373717" cy="2064609"/>
          </a:xfrm>
          <a:prstGeom prst="rect">
            <a:avLst/>
          </a:prstGeom>
        </p:spPr>
      </p:pic>
    </p:spTree>
    <p:extLst>
      <p:ext uri="{BB962C8B-B14F-4D97-AF65-F5344CB8AC3E}">
        <p14:creationId xmlns:p14="http://schemas.microsoft.com/office/powerpoint/2010/main" val="28258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1" name="think-cell Slide" r:id="rId5" imgW="410" imgH="409" progId="TCLayout.ActiveDocument.1">
                  <p:embed/>
                </p:oleObj>
              </mc:Choice>
              <mc:Fallback>
                <p:oleObj name="think-cell Slide" r:id="rId5" imgW="410" imgH="40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421704" y="2556815"/>
            <a:ext cx="3127881" cy="1495794"/>
          </a:xfrm>
        </p:spPr>
        <p:txBody>
          <a:bodyPr/>
          <a:lstStyle/>
          <a:p>
            <a:r>
              <a:rPr lang="en-US" dirty="0"/>
              <a:t>Winning Probability:</a:t>
            </a:r>
            <a:br>
              <a:rPr lang="en-US" dirty="0"/>
            </a:br>
            <a:r>
              <a:rPr lang="en-US" dirty="0"/>
              <a:t>GS vs. Non-GS	</a:t>
            </a:r>
          </a:p>
        </p:txBody>
      </p:sp>
      <p:sp>
        <p:nvSpPr>
          <p:cNvPr id="5" name="TextBox 4"/>
          <p:cNvSpPr txBox="1"/>
          <p:nvPr/>
        </p:nvSpPr>
        <p:spPr>
          <a:xfrm>
            <a:off x="4528454" y="362288"/>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An upset is less likely in Grand Slam tournaments as it is in regular ones. A favorite player has a ~80% chance of winning when facing an underdog ranked 100 places below in a Grand Slam tournament, but only around 70% winning chances in a regular one.</a:t>
            </a: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descr="A screenshot of a cell phone&#10;&#10;Description automatically generated">
            <a:extLst>
              <a:ext uri="{FF2B5EF4-FFF2-40B4-BE49-F238E27FC236}">
                <a16:creationId xmlns:a16="http://schemas.microsoft.com/office/drawing/2014/main" id="{BE1DF0EA-58E8-480E-890D-A805F479853A}"/>
              </a:ext>
            </a:extLst>
          </p:cNvPr>
          <p:cNvPicPr>
            <a:picLocks noChangeAspect="1"/>
          </p:cNvPicPr>
          <p:nvPr/>
        </p:nvPicPr>
        <p:blipFill>
          <a:blip r:embed="rId7"/>
          <a:stretch>
            <a:fillRect/>
          </a:stretch>
        </p:blipFill>
        <p:spPr>
          <a:xfrm>
            <a:off x="5021756" y="2759906"/>
            <a:ext cx="4783376" cy="3805797"/>
          </a:xfrm>
          <a:prstGeom prst="rect">
            <a:avLst/>
          </a:prstGeom>
        </p:spPr>
      </p:pic>
    </p:spTree>
    <p:extLst>
      <p:ext uri="{BB962C8B-B14F-4D97-AF65-F5344CB8AC3E}">
        <p14:creationId xmlns:p14="http://schemas.microsoft.com/office/powerpoint/2010/main" val="17415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194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6"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Predicting Point End Using Tracking Data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Harish</a:t>
            </a:r>
          </a:p>
          <a:p>
            <a:pPr marL="285750" indent="-285750">
              <a:buFont typeface="Arial" panose="020B0604020202020204" pitchFamily="34" charset="0"/>
              <a:buChar char="•"/>
            </a:pPr>
            <a:r>
              <a:rPr lang="en-US" dirty="0">
                <a:solidFill>
                  <a:srgbClr val="575757"/>
                </a:solidFill>
              </a:rPr>
              <a:t>To</a:t>
            </a:r>
          </a:p>
          <a:p>
            <a:pPr marL="285750" indent="-285750">
              <a:buFont typeface="Arial" panose="020B0604020202020204" pitchFamily="34" charset="0"/>
              <a:buChar char="•"/>
            </a:pPr>
            <a:r>
              <a:rPr lang="en-US" dirty="0">
                <a:solidFill>
                  <a:srgbClr val="575757"/>
                </a:solidFill>
              </a:rPr>
              <a:t>Add</a:t>
            </a:r>
          </a:p>
          <a:p>
            <a:pPr marL="285750" indent="-285750">
              <a:buFont typeface="Arial" panose="020B0604020202020204" pitchFamily="34" charset="0"/>
              <a:buChar char="•"/>
            </a:pPr>
            <a:r>
              <a:rPr lang="en-US" dirty="0">
                <a:solidFill>
                  <a:srgbClr val="575757"/>
                </a:solidFill>
              </a:rPr>
              <a:t>Step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89924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9458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4"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redicting Point Ending Using Tracking Data (Harish)</a:t>
            </a:r>
          </a:p>
        </p:txBody>
      </p:sp>
    </p:spTree>
    <p:extLst>
      <p:ext uri="{BB962C8B-B14F-4D97-AF65-F5344CB8AC3E}">
        <p14:creationId xmlns:p14="http://schemas.microsoft.com/office/powerpoint/2010/main" val="36388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redicting Point Ending Using Tracking Data (Harish)</a:t>
            </a:r>
          </a:p>
        </p:txBody>
      </p:sp>
    </p:spTree>
    <p:extLst>
      <p:ext uri="{BB962C8B-B14F-4D97-AF65-F5344CB8AC3E}">
        <p14:creationId xmlns:p14="http://schemas.microsoft.com/office/powerpoint/2010/main" val="4263454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6"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ustering</a:t>
            </a:r>
          </a:p>
        </p:txBody>
      </p:sp>
      <p:sp>
        <p:nvSpPr>
          <p:cNvPr id="5" name="TextBox 4"/>
          <p:cNvSpPr txBox="1"/>
          <p:nvPr/>
        </p:nvSpPr>
        <p:spPr>
          <a:xfrm>
            <a:off x="4404167" y="1996633"/>
            <a:ext cx="6458464"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Gathered major tournament match statistics from UCI</a:t>
            </a:r>
          </a:p>
          <a:p>
            <a:pPr marL="285750" indent="-285750">
              <a:buFont typeface="Arial" panose="020B0604020202020204" pitchFamily="34" charset="0"/>
              <a:buChar char="•"/>
            </a:pPr>
            <a:r>
              <a:rPr lang="en-US" dirty="0">
                <a:solidFill>
                  <a:srgbClr val="575757"/>
                </a:solidFill>
              </a:rPr>
              <a:t>Designed Alteryx workflow to clean up data and organize match statistics by player</a:t>
            </a:r>
          </a:p>
          <a:p>
            <a:pPr marL="285750" indent="-285750">
              <a:buFont typeface="Arial" panose="020B0604020202020204" pitchFamily="34" charset="0"/>
              <a:buChar char="•"/>
            </a:pPr>
            <a:r>
              <a:rPr lang="en-US" dirty="0">
                <a:solidFill>
                  <a:srgbClr val="575757"/>
                </a:solidFill>
              </a:rPr>
              <a:t>Utilized python tool within Alteryx to determine clusters</a:t>
            </a:r>
          </a:p>
          <a:p>
            <a:pPr marL="285750" indent="-285750">
              <a:buFont typeface="Arial" panose="020B0604020202020204" pitchFamily="34" charset="0"/>
              <a:buChar char="•"/>
            </a:pPr>
            <a:r>
              <a:rPr lang="en-US" dirty="0">
                <a:solidFill>
                  <a:srgbClr val="575757"/>
                </a:solidFill>
              </a:rPr>
              <a:t>Summarized data uploaded to Tableau server</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643797" y="3828587"/>
            <a:ext cx="1646238" cy="1646238"/>
            <a:chOff x="5273675" y="2606675"/>
            <a:chExt cx="1646238" cy="1646238"/>
          </a:xfrm>
        </p:grpSpPr>
        <p:sp>
          <p:nvSpPr>
            <p:cNvPr id="7" name="AutoShape 3"/>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568883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0"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up (Alteryx)</a:t>
            </a:r>
          </a:p>
        </p:txBody>
      </p:sp>
      <p:sp>
        <p:nvSpPr>
          <p:cNvPr id="5" name="TextBox 4"/>
          <p:cNvSpPr txBox="1"/>
          <p:nvPr/>
        </p:nvSpPr>
        <p:spPr>
          <a:xfrm>
            <a:off x="630000" y="1524303"/>
            <a:ext cx="4294540" cy="5471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Used formula tool to create new columns containing gender, name of tournament, and court surface (grass, clay, etc.)</a:t>
            </a:r>
          </a:p>
          <a:p>
            <a:endParaRPr lang="en-US" dirty="0">
              <a:solidFill>
                <a:srgbClr val="575757"/>
              </a:solidFill>
            </a:endParaRPr>
          </a:p>
          <a:p>
            <a:pPr marL="285750" indent="-285750">
              <a:buFont typeface="Arial" panose="020B0604020202020204" pitchFamily="34" charset="0"/>
              <a:buChar char="•"/>
            </a:pPr>
            <a:r>
              <a:rPr lang="en-US" dirty="0" err="1">
                <a:solidFill>
                  <a:srgbClr val="575757"/>
                </a:solidFill>
              </a:rPr>
              <a:t>Unioned</a:t>
            </a:r>
            <a:r>
              <a:rPr lang="en-US" dirty="0">
                <a:solidFill>
                  <a:srgbClr val="575757"/>
                </a:solidFill>
              </a:rPr>
              <a:t> major tournament dat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Replaced null values in 'Final Games' columns with blanks, filtered out blank fields (drop n/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Assigned match a record ID</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lected essential data fields to </a:t>
            </a:r>
          </a:p>
          <a:p>
            <a:r>
              <a:rPr lang="en-US" dirty="0">
                <a:solidFill>
                  <a:srgbClr val="575757"/>
                </a:solidFill>
              </a:rPr>
              <a:t>    carry forward in workflow</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parated, and rejoined individual player data from matches to condense 'Player 1' and 'Player 2' fields into a single 'Player' field</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8054221" y="1248407"/>
            <a:ext cx="2456533" cy="1742668"/>
          </a:xfrm>
          <a:prstGeom prst="rect">
            <a:avLst/>
          </a:prstGeom>
        </p:spPr>
      </p:pic>
      <p:pic>
        <p:nvPicPr>
          <p:cNvPr id="8" name="Picture 7"/>
          <p:cNvPicPr>
            <a:picLocks noChangeAspect="1"/>
          </p:cNvPicPr>
          <p:nvPr/>
        </p:nvPicPr>
        <p:blipFill>
          <a:blip r:embed="rId9"/>
          <a:stretch>
            <a:fillRect/>
          </a:stretch>
        </p:blipFill>
        <p:spPr>
          <a:xfrm>
            <a:off x="8054221" y="3145784"/>
            <a:ext cx="2456533" cy="859787"/>
          </a:xfrm>
          <a:prstGeom prst="rect">
            <a:avLst/>
          </a:prstGeom>
        </p:spPr>
      </p:pic>
      <p:pic>
        <p:nvPicPr>
          <p:cNvPr id="7" name="Picture 6"/>
          <p:cNvPicPr>
            <a:picLocks noChangeAspect="1"/>
          </p:cNvPicPr>
          <p:nvPr/>
        </p:nvPicPr>
        <p:blipFill>
          <a:blip r:embed="rId10"/>
          <a:stretch>
            <a:fillRect/>
          </a:stretch>
        </p:blipFill>
        <p:spPr>
          <a:xfrm>
            <a:off x="8054221" y="4066222"/>
            <a:ext cx="3143250" cy="1971675"/>
          </a:xfrm>
          <a:prstGeom prst="rect">
            <a:avLst/>
          </a:prstGeom>
        </p:spPr>
      </p:pic>
    </p:spTree>
    <p:extLst>
      <p:ext uri="{BB962C8B-B14F-4D97-AF65-F5344CB8AC3E}">
        <p14:creationId xmlns:p14="http://schemas.microsoft.com/office/powerpoint/2010/main" val="250059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4"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6380492" y="0"/>
            <a:ext cx="5811508" cy="3369597"/>
          </a:xfrm>
          <a:prstGeom prst="rect">
            <a:avLst/>
          </a:prstGeom>
        </p:spPr>
      </p:pic>
      <p:sp>
        <p:nvSpPr>
          <p:cNvPr id="3" name="Title 2"/>
          <p:cNvSpPr>
            <a:spLocks noGrp="1"/>
          </p:cNvSpPr>
          <p:nvPr>
            <p:ph type="title"/>
          </p:nvPr>
        </p:nvSpPr>
        <p:spPr/>
        <p:txBody>
          <a:bodyPr/>
          <a:lstStyle/>
          <a:p>
            <a:r>
              <a:rPr lang="en-US" dirty="0"/>
              <a:t>Clustering</a:t>
            </a:r>
          </a:p>
        </p:txBody>
      </p:sp>
      <p:sp>
        <p:nvSpPr>
          <p:cNvPr id="4" name="TextBox 3"/>
          <p:cNvSpPr txBox="1"/>
          <p:nvPr/>
        </p:nvSpPr>
        <p:spPr>
          <a:xfrm>
            <a:off x="299494" y="1645760"/>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Summarized player data plugged in to Python tool</a:t>
            </a:r>
          </a:p>
          <a:p>
            <a:pPr marL="285750" indent="-285750">
              <a:buFont typeface="Arial" panose="020B0604020202020204" pitchFamily="34" charset="0"/>
              <a:buChar char="•"/>
            </a:pPr>
            <a:r>
              <a:rPr lang="en-US" dirty="0">
                <a:solidFill>
                  <a:srgbClr val="575757"/>
                </a:solidFill>
              </a:rPr>
              <a:t>Utilized Elbow method to </a:t>
            </a:r>
            <a:r>
              <a:rPr lang="en-US" dirty="0" err="1">
                <a:solidFill>
                  <a:srgbClr val="575757"/>
                </a:solidFill>
              </a:rPr>
              <a:t>validify</a:t>
            </a:r>
            <a:r>
              <a:rPr lang="en-US" dirty="0">
                <a:solidFill>
                  <a:srgbClr val="575757"/>
                </a:solidFill>
              </a:rPr>
              <a:t> optimal number of clusters</a:t>
            </a:r>
          </a:p>
          <a:p>
            <a:pPr marL="285750" indent="-285750">
              <a:buFont typeface="Arial" panose="020B0604020202020204" pitchFamily="34" charset="0"/>
              <a:buChar char="•"/>
            </a:pPr>
            <a:r>
              <a:rPr lang="en-US" dirty="0">
                <a:solidFill>
                  <a:srgbClr val="575757"/>
                </a:solidFill>
              </a:rPr>
              <a:t>Use K-Means to cluster player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6380492" y="4836404"/>
            <a:ext cx="5781077" cy="1799557"/>
          </a:xfrm>
          <a:prstGeom prst="rect">
            <a:avLst/>
          </a:prstGeom>
        </p:spPr>
      </p:pic>
      <p:pic>
        <p:nvPicPr>
          <p:cNvPr id="7" name="Picture 6"/>
          <p:cNvPicPr>
            <a:picLocks noChangeAspect="1"/>
          </p:cNvPicPr>
          <p:nvPr/>
        </p:nvPicPr>
        <p:blipFill>
          <a:blip r:embed="rId9"/>
          <a:stretch>
            <a:fillRect/>
          </a:stretch>
        </p:blipFill>
        <p:spPr>
          <a:xfrm>
            <a:off x="3709668" y="4107698"/>
            <a:ext cx="2386932" cy="2232936"/>
          </a:xfrm>
          <a:prstGeom prst="rect">
            <a:avLst/>
          </a:prstGeom>
        </p:spPr>
      </p:pic>
      <p:pic>
        <p:nvPicPr>
          <p:cNvPr id="8" name="Picture 7"/>
          <p:cNvPicPr>
            <a:picLocks noChangeAspect="1"/>
          </p:cNvPicPr>
          <p:nvPr/>
        </p:nvPicPr>
        <p:blipFill>
          <a:blip r:embed="rId10"/>
          <a:stretch>
            <a:fillRect/>
          </a:stretch>
        </p:blipFill>
        <p:spPr>
          <a:xfrm>
            <a:off x="6380492" y="3388390"/>
            <a:ext cx="2278766" cy="1448014"/>
          </a:xfrm>
          <a:prstGeom prst="rect">
            <a:avLst/>
          </a:prstGeom>
        </p:spPr>
      </p:pic>
      <p:sp>
        <p:nvSpPr>
          <p:cNvPr id="9" name="Rectangle 8"/>
          <p:cNvSpPr/>
          <p:nvPr/>
        </p:nvSpPr>
        <p:spPr>
          <a:xfrm>
            <a:off x="8494005" y="3378993"/>
            <a:ext cx="3667564" cy="1457411"/>
          </a:xfrm>
          <a:prstGeom prst="rect">
            <a:avLst/>
          </a:prstGeom>
          <a:solidFill>
            <a:srgbClr val="FFFFFF"/>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52763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8"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Playstyles</a:t>
            </a:r>
          </a:p>
        </p:txBody>
      </p:sp>
      <p:sp>
        <p:nvSpPr>
          <p:cNvPr id="8" name="TextBox 7"/>
          <p:cNvSpPr txBox="1"/>
          <p:nvPr/>
        </p:nvSpPr>
        <p:spPr>
          <a:xfrm>
            <a:off x="293706" y="1564737"/>
            <a:ext cx="4700769" cy="5160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dirty="0">
                <a:solidFill>
                  <a:srgbClr val="575757"/>
                </a:solidFill>
              </a:rPr>
              <a:t>Aggressive Baseliner : </a:t>
            </a:r>
            <a:r>
              <a:rPr lang="en-US" sz="1050" dirty="0">
                <a:solidFill>
                  <a:srgbClr val="575757"/>
                </a:solidFill>
              </a:rPr>
              <a:t>An offensive or aggressive baseliner tries to control and dictate play by hitting powerful groundstrokes for winners usually from the area of the baseline or behind it. An effective offensive baseliner can overpower many opponents, however, when going for winners, they can also produce many errors since they have to repeatedly and correctly execute some difficult strokes.</a:t>
            </a:r>
          </a:p>
          <a:p>
            <a:endParaRPr lang="en-US" sz="1050" dirty="0">
              <a:solidFill>
                <a:srgbClr val="575757"/>
              </a:solidFill>
            </a:endParaRPr>
          </a:p>
          <a:p>
            <a:pPr marL="285750" indent="-285750">
              <a:buFont typeface="Arial" panose="020B0604020202020204" pitchFamily="34" charset="0"/>
              <a:buChar char="•"/>
            </a:pPr>
            <a:r>
              <a:rPr lang="en-US" sz="1600" dirty="0">
                <a:solidFill>
                  <a:srgbClr val="575757"/>
                </a:solidFill>
              </a:rPr>
              <a:t>Defensive Baseliner : </a:t>
            </a:r>
            <a:r>
              <a:rPr lang="en-US" sz="1050" dirty="0">
                <a:solidFill>
                  <a:srgbClr val="575757"/>
                </a:solidFill>
              </a:rPr>
              <a:t>A defensive baseliner tries to return every ball and relies on the opponent making mistakes. The trademarks of a counterpuncher include consistent shots with low error rate, as well as precise placement that makes it hard for their opponent to execute an aggressive shot. </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Server &amp; </a:t>
            </a:r>
            <a:r>
              <a:rPr lang="en-US" sz="1600" dirty="0" err="1">
                <a:solidFill>
                  <a:srgbClr val="575757"/>
                </a:solidFill>
              </a:rPr>
              <a:t>Volleyer</a:t>
            </a:r>
            <a:r>
              <a:rPr lang="en-US" sz="1600" dirty="0">
                <a:solidFill>
                  <a:srgbClr val="575757"/>
                </a:solidFill>
              </a:rPr>
              <a:t> : </a:t>
            </a:r>
            <a:r>
              <a:rPr lang="en-US" sz="1050" dirty="0">
                <a:solidFill>
                  <a:srgbClr val="575757"/>
                </a:solidFill>
              </a:rPr>
              <a:t>A serve and </a:t>
            </a:r>
            <a:r>
              <a:rPr lang="en-US" sz="1050" dirty="0" err="1">
                <a:solidFill>
                  <a:srgbClr val="575757"/>
                </a:solidFill>
              </a:rPr>
              <a:t>volleyer</a:t>
            </a:r>
            <a:r>
              <a:rPr lang="en-US" sz="1050" dirty="0">
                <a:solidFill>
                  <a:srgbClr val="575757"/>
                </a:solidFill>
              </a:rPr>
              <a:t> has a great net game, is quick around the net, and has a fine touch for </a:t>
            </a:r>
            <a:r>
              <a:rPr lang="en-US" sz="1050" dirty="0">
                <a:solidFill>
                  <a:srgbClr val="575757"/>
                </a:solidFill>
                <a:hlinkClick r:id="rId7" tooltip="Volley (tennis)"/>
              </a:rPr>
              <a:t>volleys</a:t>
            </a:r>
            <a:r>
              <a:rPr lang="en-US" sz="1050" dirty="0">
                <a:solidFill>
                  <a:srgbClr val="575757"/>
                </a:solidFill>
              </a:rPr>
              <a:t>. </a:t>
            </a:r>
            <a:r>
              <a:rPr lang="en-US" sz="1050" dirty="0">
                <a:solidFill>
                  <a:srgbClr val="575757"/>
                </a:solidFill>
                <a:hlinkClick r:id="rId8" tooltip="Serve and volley"/>
              </a:rPr>
              <a:t>Serve and </a:t>
            </a:r>
            <a:r>
              <a:rPr lang="en-US" sz="1050" dirty="0" err="1">
                <a:solidFill>
                  <a:srgbClr val="575757"/>
                </a:solidFill>
                <a:hlinkClick r:id="rId8" tooltip="Serve and volley"/>
              </a:rPr>
              <a:t>volleyers</a:t>
            </a:r>
            <a:r>
              <a:rPr lang="en-US" sz="1050" dirty="0">
                <a:solidFill>
                  <a:srgbClr val="575757"/>
                </a:solidFill>
              </a:rPr>
              <a:t> come up to the net at every opportunity when serving. They are almost always attackers and can hit many winners with varieties of volleys and </a:t>
            </a:r>
            <a:r>
              <a:rPr lang="en-US" sz="1050" dirty="0">
                <a:solidFill>
                  <a:srgbClr val="575757"/>
                </a:solidFill>
                <a:hlinkClick r:id="rId9" tooltip="Drop shot"/>
              </a:rPr>
              <a:t>drop volleys</a:t>
            </a:r>
            <a:r>
              <a:rPr lang="en-US" sz="1050" dirty="0">
                <a:solidFill>
                  <a:srgbClr val="575757"/>
                </a:solidFill>
              </a:rPr>
              <a:t>.</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All Court : </a:t>
            </a:r>
            <a:r>
              <a:rPr lang="en-US" sz="1050" dirty="0">
                <a:solidFill>
                  <a:srgbClr val="575757"/>
                </a:solidFill>
              </a:rPr>
              <a:t>All-court players, or all-rounders, have aspects of every tennis style, whether that be offensive baseliner, defensive counter-puncher or serve-and-</a:t>
            </a:r>
            <a:r>
              <a:rPr lang="en-US" sz="1050" dirty="0" err="1">
                <a:solidFill>
                  <a:srgbClr val="575757"/>
                </a:solidFill>
              </a:rPr>
              <a:t>volleyer</a:t>
            </a:r>
            <a:r>
              <a:rPr lang="en-US" sz="1050" dirty="0">
                <a:solidFill>
                  <a:srgbClr val="575757"/>
                </a:solidFill>
              </a:rPr>
              <a:t>. All-court players use the best bits from each style and mix it together to create a truly formidable tennis style to play against. In game situations they are very versatile; when an all-court player's baseline game is not working, he/she may switch to a net game, and vice versa. All-court players have the ability to adjust to different opponents that play different styles more easily than pure baseliners or serve and </a:t>
            </a:r>
            <a:r>
              <a:rPr lang="en-US" sz="1050" dirty="0" err="1">
                <a:solidFill>
                  <a:srgbClr val="575757"/>
                </a:solidFill>
              </a:rPr>
              <a:t>volleyers</a:t>
            </a:r>
            <a:r>
              <a:rPr lang="en-US" sz="1050" dirty="0">
                <a:solidFill>
                  <a:srgbClr val="575757"/>
                </a:solidFill>
              </a:rPr>
              <a:t>.</a:t>
            </a:r>
          </a:p>
          <a:p>
            <a:pPr algn="ctr"/>
            <a:endParaRPr lang="en-US" dirty="0">
              <a:solidFill>
                <a:srgbClr val="575757"/>
              </a:solidFill>
            </a:endParaRPr>
          </a:p>
        </p:txBody>
      </p:sp>
      <p:grpSp>
        <p:nvGrpSpPr>
          <p:cNvPr id="88" name="Group 87"/>
          <p:cNvGrpSpPr/>
          <p:nvPr/>
        </p:nvGrpSpPr>
        <p:grpSpPr>
          <a:xfrm>
            <a:off x="6214975" y="1454449"/>
            <a:ext cx="5632383" cy="5397260"/>
            <a:chOff x="6214975" y="1454449"/>
            <a:chExt cx="5632383" cy="5397260"/>
          </a:xfrm>
        </p:grpSpPr>
        <p:grpSp>
          <p:nvGrpSpPr>
            <p:cNvPr id="4" name="Group 3"/>
            <p:cNvGrpSpPr/>
            <p:nvPr/>
          </p:nvGrpSpPr>
          <p:grpSpPr>
            <a:xfrm>
              <a:off x="6775046" y="1979266"/>
              <a:ext cx="4510269" cy="4381021"/>
              <a:chOff x="3690394" y="2060290"/>
              <a:chExt cx="3669176" cy="3618735"/>
            </a:xfrm>
          </p:grpSpPr>
          <p:sp>
            <p:nvSpPr>
              <p:cNvPr id="5" name="Oval 4"/>
              <p:cNvSpPr/>
              <p:nvPr/>
            </p:nvSpPr>
            <p:spPr>
              <a:xfrm>
                <a:off x="4363649" y="2060290"/>
                <a:ext cx="2303362" cy="2343873"/>
              </a:xfrm>
              <a:prstGeom prst="ellipse">
                <a:avLst/>
              </a:prstGeom>
              <a:solidFill>
                <a:srgbClr val="29BA74">
                  <a:alpha val="3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Oval 5"/>
              <p:cNvSpPr/>
              <p:nvPr/>
            </p:nvSpPr>
            <p:spPr>
              <a:xfrm>
                <a:off x="5056208" y="3323577"/>
                <a:ext cx="2303362" cy="2343873"/>
              </a:xfrm>
              <a:prstGeom prst="ellipse">
                <a:avLst/>
              </a:prstGeom>
              <a:solidFill>
                <a:srgbClr val="670F31">
                  <a:alpha val="30000"/>
                </a:srgb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Oval 6"/>
              <p:cNvSpPr/>
              <p:nvPr/>
            </p:nvSpPr>
            <p:spPr>
              <a:xfrm>
                <a:off x="3690394" y="3335152"/>
                <a:ext cx="2303362" cy="2343873"/>
              </a:xfrm>
              <a:prstGeom prst="ellipse">
                <a:avLst/>
              </a:prstGeom>
              <a:solidFill>
                <a:srgbClr val="6E6F73">
                  <a:alpha val="30000"/>
                </a:srgb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25" name="Group 24"/>
            <p:cNvGrpSpPr/>
            <p:nvPr/>
          </p:nvGrpSpPr>
          <p:grpSpPr>
            <a:xfrm>
              <a:off x="8232305" y="2808190"/>
              <a:ext cx="713635" cy="469040"/>
              <a:chOff x="6558295" y="706056"/>
              <a:chExt cx="692008" cy="457200"/>
            </a:xfrm>
          </p:grpSpPr>
          <p:sp>
            <p:nvSpPr>
              <p:cNvPr id="26" name="Oval 25"/>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extBox 2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Matosevic</a:t>
                </a:r>
                <a:endParaRPr lang="en-US" sz="900" dirty="0">
                  <a:solidFill>
                    <a:srgbClr val="575757"/>
                  </a:solidFill>
                </a:endParaRPr>
              </a:p>
            </p:txBody>
          </p:sp>
        </p:grpSp>
        <p:grpSp>
          <p:nvGrpSpPr>
            <p:cNvPr id="49" name="Group 48"/>
            <p:cNvGrpSpPr/>
            <p:nvPr/>
          </p:nvGrpSpPr>
          <p:grpSpPr>
            <a:xfrm>
              <a:off x="8734155" y="2300179"/>
              <a:ext cx="713635" cy="469040"/>
              <a:chOff x="6558295" y="706056"/>
              <a:chExt cx="692008" cy="457200"/>
            </a:xfrm>
          </p:grpSpPr>
          <p:sp>
            <p:nvSpPr>
              <p:cNvPr id="50" name="Oval 49"/>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TextBox 5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Mayer</a:t>
                </a:r>
                <a:endParaRPr lang="en-US" sz="900" dirty="0">
                  <a:solidFill>
                    <a:srgbClr val="575757"/>
                  </a:solidFill>
                </a:endParaRPr>
              </a:p>
            </p:txBody>
          </p:sp>
        </p:grpSp>
        <p:grpSp>
          <p:nvGrpSpPr>
            <p:cNvPr id="52" name="Group 51"/>
            <p:cNvGrpSpPr/>
            <p:nvPr/>
          </p:nvGrpSpPr>
          <p:grpSpPr>
            <a:xfrm>
              <a:off x="9284314" y="2807609"/>
              <a:ext cx="713635" cy="469040"/>
              <a:chOff x="6558295" y="706056"/>
              <a:chExt cx="692008" cy="457200"/>
            </a:xfrm>
          </p:grpSpPr>
          <p:sp>
            <p:nvSpPr>
              <p:cNvPr id="53" name="Oval 52"/>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Box 5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Nadal</a:t>
                </a:r>
                <a:endParaRPr lang="en-US" sz="900" dirty="0">
                  <a:solidFill>
                    <a:srgbClr val="575757"/>
                  </a:solidFill>
                </a:endParaRPr>
              </a:p>
            </p:txBody>
          </p:sp>
        </p:grpSp>
        <p:grpSp>
          <p:nvGrpSpPr>
            <p:cNvPr id="55" name="Group 54"/>
            <p:cNvGrpSpPr/>
            <p:nvPr/>
          </p:nvGrpSpPr>
          <p:grpSpPr>
            <a:xfrm>
              <a:off x="9606413" y="5312467"/>
              <a:ext cx="713635" cy="469040"/>
              <a:chOff x="6558295" y="706056"/>
              <a:chExt cx="692008" cy="457200"/>
            </a:xfrm>
          </p:grpSpPr>
          <p:sp>
            <p:nvSpPr>
              <p:cNvPr id="56" name="Oval 55"/>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TextBox 5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Paire</a:t>
                </a:r>
                <a:endParaRPr lang="en-US" sz="900" dirty="0">
                  <a:solidFill>
                    <a:srgbClr val="575757"/>
                  </a:solidFill>
                </a:endParaRPr>
              </a:p>
            </p:txBody>
          </p:sp>
        </p:grpSp>
        <p:grpSp>
          <p:nvGrpSpPr>
            <p:cNvPr id="58" name="Group 57"/>
            <p:cNvGrpSpPr/>
            <p:nvPr/>
          </p:nvGrpSpPr>
          <p:grpSpPr>
            <a:xfrm>
              <a:off x="9994515" y="4415242"/>
              <a:ext cx="713635" cy="469040"/>
              <a:chOff x="6558295" y="706056"/>
              <a:chExt cx="692008" cy="457200"/>
            </a:xfrm>
          </p:grpSpPr>
          <p:sp>
            <p:nvSpPr>
              <p:cNvPr id="59" name="Oval 58"/>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TextBox 59"/>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Isner</a:t>
                </a:r>
                <a:endParaRPr lang="en-US" sz="900" dirty="0">
                  <a:solidFill>
                    <a:srgbClr val="575757"/>
                  </a:solidFill>
                </a:endParaRPr>
              </a:p>
            </p:txBody>
          </p:sp>
        </p:grpSp>
        <p:grpSp>
          <p:nvGrpSpPr>
            <p:cNvPr id="61" name="Group 60"/>
            <p:cNvGrpSpPr/>
            <p:nvPr/>
          </p:nvGrpSpPr>
          <p:grpSpPr>
            <a:xfrm>
              <a:off x="10281341" y="4955383"/>
              <a:ext cx="713635" cy="469040"/>
              <a:chOff x="6558295" y="706056"/>
              <a:chExt cx="692008" cy="457200"/>
            </a:xfrm>
          </p:grpSpPr>
          <p:sp>
            <p:nvSpPr>
              <p:cNvPr id="62" name="Oval 61"/>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3" name="TextBox 62"/>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Raonic</a:t>
                </a:r>
                <a:endParaRPr lang="en-US" sz="900" dirty="0">
                  <a:solidFill>
                    <a:srgbClr val="575757"/>
                  </a:solidFill>
                </a:endParaRPr>
              </a:p>
            </p:txBody>
          </p:sp>
        </p:grpSp>
        <p:grpSp>
          <p:nvGrpSpPr>
            <p:cNvPr id="64" name="Group 63"/>
            <p:cNvGrpSpPr/>
            <p:nvPr/>
          </p:nvGrpSpPr>
          <p:grpSpPr>
            <a:xfrm>
              <a:off x="7547654" y="5293035"/>
              <a:ext cx="713635" cy="469040"/>
              <a:chOff x="6558295" y="706056"/>
              <a:chExt cx="692008" cy="457200"/>
            </a:xfrm>
          </p:grpSpPr>
          <p:sp>
            <p:nvSpPr>
              <p:cNvPr id="65" name="Oval 64"/>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TextBox 65"/>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Thiem</a:t>
                </a:r>
                <a:endParaRPr lang="en-US" sz="900" dirty="0">
                  <a:solidFill>
                    <a:srgbClr val="575757"/>
                  </a:solidFill>
                </a:endParaRPr>
              </a:p>
            </p:txBody>
          </p:sp>
        </p:grpSp>
        <p:grpSp>
          <p:nvGrpSpPr>
            <p:cNvPr id="67" name="Group 66"/>
            <p:cNvGrpSpPr/>
            <p:nvPr/>
          </p:nvGrpSpPr>
          <p:grpSpPr>
            <a:xfrm>
              <a:off x="6902473" y="4578548"/>
              <a:ext cx="713635" cy="469040"/>
              <a:chOff x="6558295" y="706056"/>
              <a:chExt cx="692008" cy="457200"/>
            </a:xfrm>
          </p:grpSpPr>
          <p:sp>
            <p:nvSpPr>
              <p:cNvPr id="68" name="Oval 67"/>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TextBox 68"/>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Djokovic</a:t>
                </a:r>
                <a:endParaRPr lang="en-US" sz="900" dirty="0">
                  <a:solidFill>
                    <a:srgbClr val="575757"/>
                  </a:solidFill>
                </a:endParaRPr>
              </a:p>
            </p:txBody>
          </p:sp>
        </p:grpSp>
        <p:grpSp>
          <p:nvGrpSpPr>
            <p:cNvPr id="70" name="Group 69"/>
            <p:cNvGrpSpPr/>
            <p:nvPr/>
          </p:nvGrpSpPr>
          <p:grpSpPr>
            <a:xfrm>
              <a:off x="7908827" y="3747325"/>
              <a:ext cx="713635" cy="469040"/>
              <a:chOff x="6558295" y="706056"/>
              <a:chExt cx="692008" cy="457200"/>
            </a:xfrm>
          </p:grpSpPr>
          <p:sp>
            <p:nvSpPr>
              <p:cNvPr id="71" name="Oval 70"/>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TextBox 71"/>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warman</a:t>
                </a:r>
                <a:endParaRPr lang="en-US" sz="900" dirty="0">
                  <a:solidFill>
                    <a:srgbClr val="575757"/>
                  </a:solidFill>
                </a:endParaRPr>
              </a:p>
            </p:txBody>
          </p:sp>
        </p:grpSp>
        <p:grpSp>
          <p:nvGrpSpPr>
            <p:cNvPr id="73" name="Group 72"/>
            <p:cNvGrpSpPr/>
            <p:nvPr/>
          </p:nvGrpSpPr>
          <p:grpSpPr>
            <a:xfrm>
              <a:off x="9482356" y="3745254"/>
              <a:ext cx="713635" cy="469040"/>
              <a:chOff x="6558295" y="706056"/>
              <a:chExt cx="692008" cy="457200"/>
            </a:xfrm>
          </p:grpSpPr>
          <p:sp>
            <p:nvSpPr>
              <p:cNvPr id="74" name="Oval 73"/>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TextBox 74"/>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Kyrgios</a:t>
                </a:r>
                <a:endParaRPr lang="en-US" sz="900" dirty="0">
                  <a:solidFill>
                    <a:srgbClr val="575757"/>
                  </a:solidFill>
                </a:endParaRPr>
              </a:p>
            </p:txBody>
          </p:sp>
        </p:grpSp>
        <p:grpSp>
          <p:nvGrpSpPr>
            <p:cNvPr id="76" name="Group 75"/>
            <p:cNvGrpSpPr/>
            <p:nvPr/>
          </p:nvGrpSpPr>
          <p:grpSpPr>
            <a:xfrm>
              <a:off x="8698723" y="5101590"/>
              <a:ext cx="713635" cy="469040"/>
              <a:chOff x="6558295" y="706056"/>
              <a:chExt cx="692008" cy="457200"/>
            </a:xfrm>
          </p:grpSpPr>
          <p:sp>
            <p:nvSpPr>
              <p:cNvPr id="77" name="Oval 76"/>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TextBox 77"/>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Johnson</a:t>
                </a:r>
                <a:endParaRPr lang="en-US" sz="900" dirty="0">
                  <a:solidFill>
                    <a:srgbClr val="575757"/>
                  </a:solidFill>
                </a:endParaRPr>
              </a:p>
            </p:txBody>
          </p:sp>
        </p:grpSp>
        <p:grpSp>
          <p:nvGrpSpPr>
            <p:cNvPr id="79" name="Group 78"/>
            <p:cNvGrpSpPr/>
            <p:nvPr/>
          </p:nvGrpSpPr>
          <p:grpSpPr>
            <a:xfrm>
              <a:off x="8567245" y="4002404"/>
              <a:ext cx="713635" cy="469040"/>
              <a:chOff x="6558295" y="706056"/>
              <a:chExt cx="692008" cy="457200"/>
            </a:xfrm>
          </p:grpSpPr>
          <p:sp>
            <p:nvSpPr>
              <p:cNvPr id="80" name="Oval 79"/>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TextBox 8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lbonis</a:t>
                </a:r>
                <a:endParaRPr lang="en-US" sz="900" dirty="0">
                  <a:solidFill>
                    <a:srgbClr val="575757"/>
                  </a:solidFill>
                </a:endParaRPr>
              </a:p>
            </p:txBody>
          </p:sp>
        </p:grpSp>
        <p:grpSp>
          <p:nvGrpSpPr>
            <p:cNvPr id="82" name="Group 81"/>
            <p:cNvGrpSpPr/>
            <p:nvPr/>
          </p:nvGrpSpPr>
          <p:grpSpPr>
            <a:xfrm>
              <a:off x="8917346" y="4303026"/>
              <a:ext cx="713635" cy="469040"/>
              <a:chOff x="6558295" y="706056"/>
              <a:chExt cx="692008" cy="457200"/>
            </a:xfrm>
          </p:grpSpPr>
          <p:sp>
            <p:nvSpPr>
              <p:cNvPr id="83" name="Oval 82"/>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4" name="TextBox 8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Federer</a:t>
                </a:r>
                <a:endParaRPr lang="en-US" sz="900" dirty="0">
                  <a:solidFill>
                    <a:srgbClr val="575757"/>
                  </a:solidFill>
                </a:endParaRPr>
              </a:p>
            </p:txBody>
          </p:sp>
        </p:grpSp>
        <p:sp>
          <p:nvSpPr>
            <p:cNvPr id="85" name="TextBox 84"/>
            <p:cNvSpPr txBox="1"/>
            <p:nvPr/>
          </p:nvSpPr>
          <p:spPr>
            <a:xfrm>
              <a:off x="7739208" y="1454449"/>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ggressive Baseliner</a:t>
              </a:r>
            </a:p>
          </p:txBody>
        </p:sp>
        <p:sp>
          <p:nvSpPr>
            <p:cNvPr id="86" name="TextBox 85"/>
            <p:cNvSpPr txBox="1"/>
            <p:nvPr/>
          </p:nvSpPr>
          <p:spPr>
            <a:xfrm>
              <a:off x="6214975" y="6313486"/>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Defensive Baseliner</a:t>
              </a:r>
            </a:p>
          </p:txBody>
        </p:sp>
        <p:sp>
          <p:nvSpPr>
            <p:cNvPr id="87" name="TextBox 86"/>
            <p:cNvSpPr txBox="1"/>
            <p:nvPr/>
          </p:nvSpPr>
          <p:spPr>
            <a:xfrm>
              <a:off x="9214695" y="6298305"/>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erver &amp; </a:t>
              </a:r>
              <a:r>
                <a:rPr lang="en-US" dirty="0" err="1">
                  <a:solidFill>
                    <a:srgbClr val="575757"/>
                  </a:solidFill>
                </a:rPr>
                <a:t>Volleyer</a:t>
              </a:r>
              <a:endParaRPr lang="en-US" dirty="0">
                <a:solidFill>
                  <a:srgbClr val="575757"/>
                </a:solidFill>
              </a:endParaRPr>
            </a:p>
          </p:txBody>
        </p:sp>
      </p:grpSp>
    </p:spTree>
    <p:extLst>
      <p:ext uri="{BB962C8B-B14F-4D97-AF65-F5344CB8AC3E}">
        <p14:creationId xmlns:p14="http://schemas.microsoft.com/office/powerpoint/2010/main" val="230456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371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8"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enda</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err="1">
                <a:solidFill>
                  <a:srgbClr val="575757"/>
                </a:solidFill>
              </a:rPr>
              <a:t>ETL</a:t>
            </a:r>
            <a:r>
              <a:rPr lang="en-US" dirty="0">
                <a:solidFill>
                  <a:srgbClr val="575757"/>
                </a:solidFill>
              </a:rPr>
              <a:t> Process</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r>
              <a:rPr lang="en-US" dirty="0">
                <a:solidFill>
                  <a:srgbClr val="575757"/>
                </a:solidFill>
              </a:rPr>
              <a:t>End Point Tracking</a:t>
            </a:r>
          </a:p>
          <a:p>
            <a:pPr marL="285750" indent="-285750">
              <a:buFont typeface="Arial" panose="020B0604020202020204" pitchFamily="34" charset="0"/>
              <a:buChar char="•"/>
            </a:pPr>
            <a:r>
              <a:rPr lang="en-US" dirty="0">
                <a:solidFill>
                  <a:srgbClr val="575757"/>
                </a:solidFill>
              </a:rPr>
              <a:t>Clustering</a:t>
            </a:r>
            <a:endParaRPr lang="en-US" dirty="0">
              <a:solidFill>
                <a:srgbClr val="575757"/>
              </a:solidFill>
              <a:sym typeface="Wingdings" panose="05000000000000000000" pitchFamily="2" charset="2"/>
            </a:endParaRPr>
          </a:p>
          <a:p>
            <a:pPr marL="285750" indent="-285750">
              <a:buFont typeface="Arial" panose="020B0604020202020204" pitchFamily="34" charset="0"/>
              <a:buChar char="•"/>
            </a:pPr>
            <a:r>
              <a:rPr lang="en-US" dirty="0">
                <a:solidFill>
                  <a:srgbClr val="575757"/>
                </a:solidFill>
                <a:sym typeface="Wingdings" panose="05000000000000000000" pitchFamily="2" charset="2"/>
              </a:rPr>
              <a:t>Conclusion</a:t>
            </a:r>
            <a:r>
              <a:rPr lang="en-US" dirty="0">
                <a:solidFill>
                  <a:srgbClr val="575757"/>
                </a:solidFill>
              </a:rPr>
              <a:t> </a:t>
            </a:r>
          </a:p>
          <a:p>
            <a:endParaRPr lang="en-US" dirty="0">
              <a:solidFill>
                <a:srgbClr val="575757"/>
              </a:solidFill>
            </a:endParaRPr>
          </a:p>
          <a:p>
            <a:pPr algn="ctr"/>
            <a:endParaRPr lang="en-US" dirty="0">
              <a:solidFill>
                <a:srgbClr val="575757"/>
              </a:solidFill>
            </a:endParaRPr>
          </a:p>
        </p:txBody>
      </p:sp>
      <p:grpSp>
        <p:nvGrpSpPr>
          <p:cNvPr id="6" name="bcgBugs_CalendarYear"/>
          <p:cNvGrpSpPr>
            <a:grpSpLocks noChangeAspect="1"/>
          </p:cNvGrpSpPr>
          <p:nvPr/>
        </p:nvGrpSpPr>
        <p:grpSpPr bwMode="auto">
          <a:xfrm>
            <a:off x="780551" y="3932498"/>
            <a:ext cx="1019313" cy="1020311"/>
            <a:chOff x="2818" y="1137"/>
            <a:chExt cx="2044" cy="2046"/>
          </a:xfrm>
        </p:grpSpPr>
        <p:sp>
          <p:nvSpPr>
            <p:cNvPr id="7" name="AutoShape 6"/>
            <p:cNvSpPr>
              <a:spLocks noChangeAspect="1" noChangeArrowheads="1" noTextEdit="1"/>
            </p:cNvSpPr>
            <p:nvPr/>
          </p:nvSpPr>
          <p:spPr bwMode="auto">
            <a:xfrm>
              <a:off x="2818" y="1137"/>
              <a:ext cx="2044" cy="204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2941" y="1448"/>
              <a:ext cx="1800" cy="1467"/>
            </a:xfrm>
            <a:custGeom>
              <a:avLst/>
              <a:gdLst>
                <a:gd name="T0" fmla="*/ 240 w 880"/>
                <a:gd name="T1" fmla="*/ 133 h 716"/>
                <a:gd name="T2" fmla="*/ 170 w 880"/>
                <a:gd name="T3" fmla="*/ 143 h 716"/>
                <a:gd name="T4" fmla="*/ 160 w 880"/>
                <a:gd name="T5" fmla="*/ 10 h 716"/>
                <a:gd name="T6" fmla="*/ 230 w 880"/>
                <a:gd name="T7" fmla="*/ 0 h 716"/>
                <a:gd name="T8" fmla="*/ 710 w 880"/>
                <a:gd name="T9" fmla="*/ 0 h 716"/>
                <a:gd name="T10" fmla="*/ 640 w 880"/>
                <a:gd name="T11" fmla="*/ 10 h 716"/>
                <a:gd name="T12" fmla="*/ 650 w 880"/>
                <a:gd name="T13" fmla="*/ 143 h 716"/>
                <a:gd name="T14" fmla="*/ 720 w 880"/>
                <a:gd name="T15" fmla="*/ 133 h 716"/>
                <a:gd name="T16" fmla="*/ 710 w 880"/>
                <a:gd name="T17" fmla="*/ 0 h 716"/>
                <a:gd name="T18" fmla="*/ 764 w 880"/>
                <a:gd name="T19" fmla="*/ 44 h 716"/>
                <a:gd name="T20" fmla="*/ 742 w 880"/>
                <a:gd name="T21" fmla="*/ 187 h 716"/>
                <a:gd name="T22" fmla="*/ 596 w 880"/>
                <a:gd name="T23" fmla="*/ 165 h 716"/>
                <a:gd name="T24" fmla="*/ 284 w 880"/>
                <a:gd name="T25" fmla="*/ 44 h 716"/>
                <a:gd name="T26" fmla="*/ 262 w 880"/>
                <a:gd name="T27" fmla="*/ 187 h 716"/>
                <a:gd name="T28" fmla="*/ 116 w 880"/>
                <a:gd name="T29" fmla="*/ 165 h 716"/>
                <a:gd name="T30" fmla="*/ 22 w 880"/>
                <a:gd name="T31" fmla="*/ 44 h 716"/>
                <a:gd name="T32" fmla="*/ 0 w 880"/>
                <a:gd name="T33" fmla="*/ 694 h 716"/>
                <a:gd name="T34" fmla="*/ 858 w 880"/>
                <a:gd name="T35" fmla="*/ 716 h 716"/>
                <a:gd name="T36" fmla="*/ 880 w 880"/>
                <a:gd name="T37" fmla="*/ 66 h 716"/>
                <a:gd name="T38" fmla="*/ 220 w 880"/>
                <a:gd name="T39" fmla="*/ 617 h 716"/>
                <a:gd name="T40" fmla="*/ 110 w 880"/>
                <a:gd name="T41" fmla="*/ 627 h 716"/>
                <a:gd name="T42" fmla="*/ 100 w 880"/>
                <a:gd name="T43" fmla="*/ 517 h 716"/>
                <a:gd name="T44" fmla="*/ 210 w 880"/>
                <a:gd name="T45" fmla="*/ 507 h 716"/>
                <a:gd name="T46" fmla="*/ 220 w 880"/>
                <a:gd name="T47" fmla="*/ 617 h 716"/>
                <a:gd name="T48" fmla="*/ 210 w 880"/>
                <a:gd name="T49" fmla="*/ 439 h 716"/>
                <a:gd name="T50" fmla="*/ 100 w 880"/>
                <a:gd name="T51" fmla="*/ 429 h 716"/>
                <a:gd name="T52" fmla="*/ 110 w 880"/>
                <a:gd name="T53" fmla="*/ 319 h 716"/>
                <a:gd name="T54" fmla="*/ 220 w 880"/>
                <a:gd name="T55" fmla="*/ 329 h 716"/>
                <a:gd name="T56" fmla="*/ 407 w 880"/>
                <a:gd name="T57" fmla="*/ 617 h 716"/>
                <a:gd name="T58" fmla="*/ 297 w 880"/>
                <a:gd name="T59" fmla="*/ 627 h 716"/>
                <a:gd name="T60" fmla="*/ 287 w 880"/>
                <a:gd name="T61" fmla="*/ 517 h 716"/>
                <a:gd name="T62" fmla="*/ 397 w 880"/>
                <a:gd name="T63" fmla="*/ 507 h 716"/>
                <a:gd name="T64" fmla="*/ 407 w 880"/>
                <a:gd name="T65" fmla="*/ 617 h 716"/>
                <a:gd name="T66" fmla="*/ 397 w 880"/>
                <a:gd name="T67" fmla="*/ 439 h 716"/>
                <a:gd name="T68" fmla="*/ 287 w 880"/>
                <a:gd name="T69" fmla="*/ 429 h 716"/>
                <a:gd name="T70" fmla="*/ 297 w 880"/>
                <a:gd name="T71" fmla="*/ 319 h 716"/>
                <a:gd name="T72" fmla="*/ 407 w 880"/>
                <a:gd name="T73" fmla="*/ 329 h 716"/>
                <a:gd name="T74" fmla="*/ 593 w 880"/>
                <a:gd name="T75" fmla="*/ 617 h 716"/>
                <a:gd name="T76" fmla="*/ 483 w 880"/>
                <a:gd name="T77" fmla="*/ 627 h 716"/>
                <a:gd name="T78" fmla="*/ 473 w 880"/>
                <a:gd name="T79" fmla="*/ 517 h 716"/>
                <a:gd name="T80" fmla="*/ 583 w 880"/>
                <a:gd name="T81" fmla="*/ 507 h 716"/>
                <a:gd name="T82" fmla="*/ 593 w 880"/>
                <a:gd name="T83" fmla="*/ 617 h 716"/>
                <a:gd name="T84" fmla="*/ 583 w 880"/>
                <a:gd name="T85" fmla="*/ 439 h 716"/>
                <a:gd name="T86" fmla="*/ 473 w 880"/>
                <a:gd name="T87" fmla="*/ 429 h 716"/>
                <a:gd name="T88" fmla="*/ 483 w 880"/>
                <a:gd name="T89" fmla="*/ 319 h 716"/>
                <a:gd name="T90" fmla="*/ 593 w 880"/>
                <a:gd name="T91" fmla="*/ 329 h 716"/>
                <a:gd name="T92" fmla="*/ 780 w 880"/>
                <a:gd name="T93" fmla="*/ 617 h 716"/>
                <a:gd name="T94" fmla="*/ 670 w 880"/>
                <a:gd name="T95" fmla="*/ 627 h 716"/>
                <a:gd name="T96" fmla="*/ 660 w 880"/>
                <a:gd name="T97" fmla="*/ 517 h 716"/>
                <a:gd name="T98" fmla="*/ 770 w 880"/>
                <a:gd name="T99" fmla="*/ 507 h 716"/>
                <a:gd name="T100" fmla="*/ 780 w 880"/>
                <a:gd name="T101" fmla="*/ 617 h 716"/>
                <a:gd name="T102" fmla="*/ 770 w 880"/>
                <a:gd name="T103" fmla="*/ 439 h 716"/>
                <a:gd name="T104" fmla="*/ 660 w 880"/>
                <a:gd name="T105" fmla="*/ 429 h 716"/>
                <a:gd name="T106" fmla="*/ 670 w 880"/>
                <a:gd name="T107" fmla="*/ 319 h 716"/>
                <a:gd name="T108" fmla="*/ 780 w 880"/>
                <a:gd name="T109" fmla="*/ 329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0" h="716">
                  <a:moveTo>
                    <a:pt x="240" y="10"/>
                  </a:moveTo>
                  <a:cubicBezTo>
                    <a:pt x="240" y="133"/>
                    <a:pt x="240" y="133"/>
                    <a:pt x="240" y="133"/>
                  </a:cubicBezTo>
                  <a:cubicBezTo>
                    <a:pt x="240" y="138"/>
                    <a:pt x="236" y="143"/>
                    <a:pt x="230" y="143"/>
                  </a:cubicBezTo>
                  <a:cubicBezTo>
                    <a:pt x="170" y="143"/>
                    <a:pt x="170" y="143"/>
                    <a:pt x="170" y="143"/>
                  </a:cubicBezTo>
                  <a:cubicBezTo>
                    <a:pt x="164" y="143"/>
                    <a:pt x="160" y="138"/>
                    <a:pt x="160" y="133"/>
                  </a:cubicBezTo>
                  <a:cubicBezTo>
                    <a:pt x="160" y="10"/>
                    <a:pt x="160" y="10"/>
                    <a:pt x="160" y="10"/>
                  </a:cubicBezTo>
                  <a:cubicBezTo>
                    <a:pt x="160" y="4"/>
                    <a:pt x="164" y="0"/>
                    <a:pt x="170" y="0"/>
                  </a:cubicBezTo>
                  <a:cubicBezTo>
                    <a:pt x="230" y="0"/>
                    <a:pt x="230" y="0"/>
                    <a:pt x="230" y="0"/>
                  </a:cubicBezTo>
                  <a:cubicBezTo>
                    <a:pt x="236" y="0"/>
                    <a:pt x="240" y="4"/>
                    <a:pt x="240" y="10"/>
                  </a:cubicBezTo>
                  <a:close/>
                  <a:moveTo>
                    <a:pt x="710" y="0"/>
                  </a:moveTo>
                  <a:cubicBezTo>
                    <a:pt x="650" y="0"/>
                    <a:pt x="650" y="0"/>
                    <a:pt x="650" y="0"/>
                  </a:cubicBezTo>
                  <a:cubicBezTo>
                    <a:pt x="644" y="0"/>
                    <a:pt x="640" y="4"/>
                    <a:pt x="640" y="10"/>
                  </a:cubicBezTo>
                  <a:cubicBezTo>
                    <a:pt x="640" y="133"/>
                    <a:pt x="640" y="133"/>
                    <a:pt x="640" y="133"/>
                  </a:cubicBezTo>
                  <a:cubicBezTo>
                    <a:pt x="640" y="138"/>
                    <a:pt x="644" y="143"/>
                    <a:pt x="650" y="143"/>
                  </a:cubicBezTo>
                  <a:cubicBezTo>
                    <a:pt x="710" y="143"/>
                    <a:pt x="710" y="143"/>
                    <a:pt x="710" y="143"/>
                  </a:cubicBezTo>
                  <a:cubicBezTo>
                    <a:pt x="716" y="143"/>
                    <a:pt x="720" y="138"/>
                    <a:pt x="720" y="133"/>
                  </a:cubicBezTo>
                  <a:cubicBezTo>
                    <a:pt x="720" y="10"/>
                    <a:pt x="720" y="10"/>
                    <a:pt x="720" y="10"/>
                  </a:cubicBezTo>
                  <a:cubicBezTo>
                    <a:pt x="720" y="4"/>
                    <a:pt x="716" y="0"/>
                    <a:pt x="710" y="0"/>
                  </a:cubicBezTo>
                  <a:close/>
                  <a:moveTo>
                    <a:pt x="858" y="44"/>
                  </a:moveTo>
                  <a:cubicBezTo>
                    <a:pt x="764" y="44"/>
                    <a:pt x="764" y="44"/>
                    <a:pt x="764" y="44"/>
                  </a:cubicBezTo>
                  <a:cubicBezTo>
                    <a:pt x="764" y="165"/>
                    <a:pt x="764" y="165"/>
                    <a:pt x="764" y="165"/>
                  </a:cubicBezTo>
                  <a:cubicBezTo>
                    <a:pt x="764" y="177"/>
                    <a:pt x="754" y="187"/>
                    <a:pt x="742" y="187"/>
                  </a:cubicBezTo>
                  <a:cubicBezTo>
                    <a:pt x="618" y="187"/>
                    <a:pt x="618" y="187"/>
                    <a:pt x="618" y="187"/>
                  </a:cubicBezTo>
                  <a:cubicBezTo>
                    <a:pt x="606" y="187"/>
                    <a:pt x="596" y="177"/>
                    <a:pt x="596" y="165"/>
                  </a:cubicBezTo>
                  <a:cubicBezTo>
                    <a:pt x="596" y="44"/>
                    <a:pt x="596" y="44"/>
                    <a:pt x="596" y="44"/>
                  </a:cubicBezTo>
                  <a:cubicBezTo>
                    <a:pt x="284" y="44"/>
                    <a:pt x="284" y="44"/>
                    <a:pt x="284" y="44"/>
                  </a:cubicBezTo>
                  <a:cubicBezTo>
                    <a:pt x="284" y="165"/>
                    <a:pt x="284" y="165"/>
                    <a:pt x="284" y="165"/>
                  </a:cubicBezTo>
                  <a:cubicBezTo>
                    <a:pt x="284" y="177"/>
                    <a:pt x="274" y="187"/>
                    <a:pt x="262" y="187"/>
                  </a:cubicBezTo>
                  <a:cubicBezTo>
                    <a:pt x="138" y="187"/>
                    <a:pt x="138" y="187"/>
                    <a:pt x="138" y="187"/>
                  </a:cubicBezTo>
                  <a:cubicBezTo>
                    <a:pt x="126" y="187"/>
                    <a:pt x="116" y="177"/>
                    <a:pt x="116" y="165"/>
                  </a:cubicBezTo>
                  <a:cubicBezTo>
                    <a:pt x="116" y="44"/>
                    <a:pt x="116" y="44"/>
                    <a:pt x="116" y="44"/>
                  </a:cubicBezTo>
                  <a:cubicBezTo>
                    <a:pt x="22" y="44"/>
                    <a:pt x="22" y="44"/>
                    <a:pt x="22" y="44"/>
                  </a:cubicBezTo>
                  <a:cubicBezTo>
                    <a:pt x="10" y="44"/>
                    <a:pt x="0" y="54"/>
                    <a:pt x="0" y="66"/>
                  </a:cubicBezTo>
                  <a:cubicBezTo>
                    <a:pt x="0" y="694"/>
                    <a:pt x="0" y="694"/>
                    <a:pt x="0" y="694"/>
                  </a:cubicBezTo>
                  <a:cubicBezTo>
                    <a:pt x="0" y="706"/>
                    <a:pt x="10" y="716"/>
                    <a:pt x="22" y="716"/>
                  </a:cubicBezTo>
                  <a:cubicBezTo>
                    <a:pt x="858" y="716"/>
                    <a:pt x="858" y="716"/>
                    <a:pt x="858" y="716"/>
                  </a:cubicBezTo>
                  <a:cubicBezTo>
                    <a:pt x="870" y="716"/>
                    <a:pt x="880" y="706"/>
                    <a:pt x="880" y="694"/>
                  </a:cubicBezTo>
                  <a:cubicBezTo>
                    <a:pt x="880" y="66"/>
                    <a:pt x="880" y="66"/>
                    <a:pt x="880" y="66"/>
                  </a:cubicBezTo>
                  <a:cubicBezTo>
                    <a:pt x="880" y="54"/>
                    <a:pt x="870" y="44"/>
                    <a:pt x="858" y="44"/>
                  </a:cubicBezTo>
                  <a:close/>
                  <a:moveTo>
                    <a:pt x="220" y="617"/>
                  </a:moveTo>
                  <a:cubicBezTo>
                    <a:pt x="220" y="623"/>
                    <a:pt x="215" y="627"/>
                    <a:pt x="210" y="627"/>
                  </a:cubicBezTo>
                  <a:cubicBezTo>
                    <a:pt x="110" y="627"/>
                    <a:pt x="110" y="627"/>
                    <a:pt x="110" y="627"/>
                  </a:cubicBezTo>
                  <a:cubicBezTo>
                    <a:pt x="104" y="627"/>
                    <a:pt x="100" y="623"/>
                    <a:pt x="100" y="617"/>
                  </a:cubicBezTo>
                  <a:cubicBezTo>
                    <a:pt x="100" y="517"/>
                    <a:pt x="100" y="517"/>
                    <a:pt x="100" y="517"/>
                  </a:cubicBezTo>
                  <a:cubicBezTo>
                    <a:pt x="100" y="511"/>
                    <a:pt x="104" y="507"/>
                    <a:pt x="110" y="507"/>
                  </a:cubicBezTo>
                  <a:cubicBezTo>
                    <a:pt x="210" y="507"/>
                    <a:pt x="210" y="507"/>
                    <a:pt x="210" y="507"/>
                  </a:cubicBezTo>
                  <a:cubicBezTo>
                    <a:pt x="215" y="507"/>
                    <a:pt x="220" y="511"/>
                    <a:pt x="220" y="517"/>
                  </a:cubicBezTo>
                  <a:lnTo>
                    <a:pt x="220" y="617"/>
                  </a:lnTo>
                  <a:close/>
                  <a:moveTo>
                    <a:pt x="220" y="429"/>
                  </a:moveTo>
                  <a:cubicBezTo>
                    <a:pt x="220" y="434"/>
                    <a:pt x="215" y="439"/>
                    <a:pt x="210" y="439"/>
                  </a:cubicBezTo>
                  <a:cubicBezTo>
                    <a:pt x="110" y="439"/>
                    <a:pt x="110" y="439"/>
                    <a:pt x="110" y="439"/>
                  </a:cubicBezTo>
                  <a:cubicBezTo>
                    <a:pt x="104" y="439"/>
                    <a:pt x="100" y="434"/>
                    <a:pt x="100" y="429"/>
                  </a:cubicBezTo>
                  <a:cubicBezTo>
                    <a:pt x="100" y="329"/>
                    <a:pt x="100" y="329"/>
                    <a:pt x="100" y="329"/>
                  </a:cubicBezTo>
                  <a:cubicBezTo>
                    <a:pt x="100" y="323"/>
                    <a:pt x="104" y="319"/>
                    <a:pt x="110" y="319"/>
                  </a:cubicBezTo>
                  <a:cubicBezTo>
                    <a:pt x="210" y="319"/>
                    <a:pt x="210" y="319"/>
                    <a:pt x="210" y="319"/>
                  </a:cubicBezTo>
                  <a:cubicBezTo>
                    <a:pt x="215" y="319"/>
                    <a:pt x="220" y="323"/>
                    <a:pt x="220" y="329"/>
                  </a:cubicBezTo>
                  <a:lnTo>
                    <a:pt x="220" y="429"/>
                  </a:lnTo>
                  <a:close/>
                  <a:moveTo>
                    <a:pt x="407" y="617"/>
                  </a:moveTo>
                  <a:cubicBezTo>
                    <a:pt x="407" y="623"/>
                    <a:pt x="402" y="627"/>
                    <a:pt x="397" y="627"/>
                  </a:cubicBezTo>
                  <a:cubicBezTo>
                    <a:pt x="297" y="627"/>
                    <a:pt x="297" y="627"/>
                    <a:pt x="297" y="627"/>
                  </a:cubicBezTo>
                  <a:cubicBezTo>
                    <a:pt x="291" y="627"/>
                    <a:pt x="287" y="623"/>
                    <a:pt x="287" y="617"/>
                  </a:cubicBezTo>
                  <a:cubicBezTo>
                    <a:pt x="287" y="517"/>
                    <a:pt x="287" y="517"/>
                    <a:pt x="287" y="517"/>
                  </a:cubicBezTo>
                  <a:cubicBezTo>
                    <a:pt x="287" y="511"/>
                    <a:pt x="291" y="507"/>
                    <a:pt x="297" y="507"/>
                  </a:cubicBezTo>
                  <a:cubicBezTo>
                    <a:pt x="397" y="507"/>
                    <a:pt x="397" y="507"/>
                    <a:pt x="397" y="507"/>
                  </a:cubicBezTo>
                  <a:cubicBezTo>
                    <a:pt x="402" y="507"/>
                    <a:pt x="407" y="511"/>
                    <a:pt x="407" y="517"/>
                  </a:cubicBezTo>
                  <a:lnTo>
                    <a:pt x="407" y="617"/>
                  </a:lnTo>
                  <a:close/>
                  <a:moveTo>
                    <a:pt x="407" y="429"/>
                  </a:moveTo>
                  <a:cubicBezTo>
                    <a:pt x="407" y="434"/>
                    <a:pt x="402" y="439"/>
                    <a:pt x="397" y="439"/>
                  </a:cubicBezTo>
                  <a:cubicBezTo>
                    <a:pt x="297" y="439"/>
                    <a:pt x="297" y="439"/>
                    <a:pt x="297" y="439"/>
                  </a:cubicBezTo>
                  <a:cubicBezTo>
                    <a:pt x="291" y="439"/>
                    <a:pt x="287" y="434"/>
                    <a:pt x="287" y="429"/>
                  </a:cubicBezTo>
                  <a:cubicBezTo>
                    <a:pt x="287" y="329"/>
                    <a:pt x="287" y="329"/>
                    <a:pt x="287" y="329"/>
                  </a:cubicBezTo>
                  <a:cubicBezTo>
                    <a:pt x="287" y="323"/>
                    <a:pt x="291" y="319"/>
                    <a:pt x="297" y="319"/>
                  </a:cubicBezTo>
                  <a:cubicBezTo>
                    <a:pt x="397" y="319"/>
                    <a:pt x="397" y="319"/>
                    <a:pt x="397" y="319"/>
                  </a:cubicBezTo>
                  <a:cubicBezTo>
                    <a:pt x="402" y="319"/>
                    <a:pt x="407" y="323"/>
                    <a:pt x="407" y="329"/>
                  </a:cubicBezTo>
                  <a:lnTo>
                    <a:pt x="407" y="429"/>
                  </a:lnTo>
                  <a:close/>
                  <a:moveTo>
                    <a:pt x="593" y="617"/>
                  </a:moveTo>
                  <a:cubicBezTo>
                    <a:pt x="593" y="623"/>
                    <a:pt x="589" y="627"/>
                    <a:pt x="583" y="627"/>
                  </a:cubicBezTo>
                  <a:cubicBezTo>
                    <a:pt x="483" y="627"/>
                    <a:pt x="483" y="627"/>
                    <a:pt x="483" y="627"/>
                  </a:cubicBezTo>
                  <a:cubicBezTo>
                    <a:pt x="478" y="627"/>
                    <a:pt x="473" y="623"/>
                    <a:pt x="473" y="617"/>
                  </a:cubicBezTo>
                  <a:cubicBezTo>
                    <a:pt x="473" y="517"/>
                    <a:pt x="473" y="517"/>
                    <a:pt x="473" y="517"/>
                  </a:cubicBezTo>
                  <a:cubicBezTo>
                    <a:pt x="473" y="511"/>
                    <a:pt x="478" y="507"/>
                    <a:pt x="483" y="507"/>
                  </a:cubicBezTo>
                  <a:cubicBezTo>
                    <a:pt x="583" y="507"/>
                    <a:pt x="583" y="507"/>
                    <a:pt x="583" y="507"/>
                  </a:cubicBezTo>
                  <a:cubicBezTo>
                    <a:pt x="589" y="507"/>
                    <a:pt x="593" y="511"/>
                    <a:pt x="593" y="517"/>
                  </a:cubicBezTo>
                  <a:lnTo>
                    <a:pt x="593" y="617"/>
                  </a:lnTo>
                  <a:close/>
                  <a:moveTo>
                    <a:pt x="593" y="429"/>
                  </a:moveTo>
                  <a:cubicBezTo>
                    <a:pt x="593" y="434"/>
                    <a:pt x="589" y="439"/>
                    <a:pt x="583" y="439"/>
                  </a:cubicBezTo>
                  <a:cubicBezTo>
                    <a:pt x="483" y="439"/>
                    <a:pt x="483" y="439"/>
                    <a:pt x="483" y="439"/>
                  </a:cubicBezTo>
                  <a:cubicBezTo>
                    <a:pt x="478" y="439"/>
                    <a:pt x="473" y="434"/>
                    <a:pt x="473" y="429"/>
                  </a:cubicBezTo>
                  <a:cubicBezTo>
                    <a:pt x="473" y="329"/>
                    <a:pt x="473" y="329"/>
                    <a:pt x="473" y="329"/>
                  </a:cubicBezTo>
                  <a:cubicBezTo>
                    <a:pt x="473" y="323"/>
                    <a:pt x="478" y="319"/>
                    <a:pt x="483" y="319"/>
                  </a:cubicBezTo>
                  <a:cubicBezTo>
                    <a:pt x="583" y="319"/>
                    <a:pt x="583" y="319"/>
                    <a:pt x="583" y="319"/>
                  </a:cubicBezTo>
                  <a:cubicBezTo>
                    <a:pt x="589" y="319"/>
                    <a:pt x="593" y="323"/>
                    <a:pt x="593" y="329"/>
                  </a:cubicBezTo>
                  <a:lnTo>
                    <a:pt x="593" y="429"/>
                  </a:lnTo>
                  <a:close/>
                  <a:moveTo>
                    <a:pt x="780" y="617"/>
                  </a:moveTo>
                  <a:cubicBezTo>
                    <a:pt x="780" y="623"/>
                    <a:pt x="776" y="627"/>
                    <a:pt x="770" y="627"/>
                  </a:cubicBezTo>
                  <a:cubicBezTo>
                    <a:pt x="670" y="627"/>
                    <a:pt x="670" y="627"/>
                    <a:pt x="670" y="627"/>
                  </a:cubicBezTo>
                  <a:cubicBezTo>
                    <a:pt x="665" y="627"/>
                    <a:pt x="660" y="623"/>
                    <a:pt x="660" y="617"/>
                  </a:cubicBezTo>
                  <a:cubicBezTo>
                    <a:pt x="660" y="517"/>
                    <a:pt x="660" y="517"/>
                    <a:pt x="660" y="517"/>
                  </a:cubicBezTo>
                  <a:cubicBezTo>
                    <a:pt x="660" y="511"/>
                    <a:pt x="665" y="507"/>
                    <a:pt x="670" y="507"/>
                  </a:cubicBezTo>
                  <a:cubicBezTo>
                    <a:pt x="770" y="507"/>
                    <a:pt x="770" y="507"/>
                    <a:pt x="770" y="507"/>
                  </a:cubicBezTo>
                  <a:cubicBezTo>
                    <a:pt x="776" y="507"/>
                    <a:pt x="780" y="511"/>
                    <a:pt x="780" y="517"/>
                  </a:cubicBezTo>
                  <a:lnTo>
                    <a:pt x="780" y="617"/>
                  </a:lnTo>
                  <a:close/>
                  <a:moveTo>
                    <a:pt x="780" y="429"/>
                  </a:moveTo>
                  <a:cubicBezTo>
                    <a:pt x="780" y="434"/>
                    <a:pt x="776" y="439"/>
                    <a:pt x="770" y="439"/>
                  </a:cubicBezTo>
                  <a:cubicBezTo>
                    <a:pt x="670" y="439"/>
                    <a:pt x="670" y="439"/>
                    <a:pt x="670" y="439"/>
                  </a:cubicBezTo>
                  <a:cubicBezTo>
                    <a:pt x="665" y="439"/>
                    <a:pt x="660" y="434"/>
                    <a:pt x="660" y="429"/>
                  </a:cubicBezTo>
                  <a:cubicBezTo>
                    <a:pt x="660" y="329"/>
                    <a:pt x="660" y="329"/>
                    <a:pt x="660" y="329"/>
                  </a:cubicBezTo>
                  <a:cubicBezTo>
                    <a:pt x="660" y="323"/>
                    <a:pt x="665" y="319"/>
                    <a:pt x="670" y="319"/>
                  </a:cubicBezTo>
                  <a:cubicBezTo>
                    <a:pt x="770" y="319"/>
                    <a:pt x="770" y="319"/>
                    <a:pt x="770" y="319"/>
                  </a:cubicBezTo>
                  <a:cubicBezTo>
                    <a:pt x="776" y="319"/>
                    <a:pt x="780" y="323"/>
                    <a:pt x="780" y="329"/>
                  </a:cubicBezTo>
                  <a:lnTo>
                    <a:pt x="780" y="429"/>
                  </a:lnTo>
                  <a:close/>
                </a:path>
              </a:pathLst>
            </a:custGeom>
            <a:solidFill>
              <a:schemeClr val="bg1"/>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9532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05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5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Conclusion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Points</a:t>
            </a:r>
          </a:p>
          <a:p>
            <a:pPr marL="285750" indent="-285750">
              <a:buFont typeface="Arial" panose="020B0604020202020204" pitchFamily="34" charset="0"/>
              <a:buChar char="•"/>
            </a:pPr>
            <a:r>
              <a:rPr lang="en-US" dirty="0">
                <a:solidFill>
                  <a:srgbClr val="575757"/>
                </a:solidFill>
              </a:rPr>
              <a:t>Made</a:t>
            </a:r>
          </a:p>
          <a:p>
            <a:pPr marL="285750" indent="-285750">
              <a:buFont typeface="Arial" panose="020B0604020202020204" pitchFamily="34" charset="0"/>
              <a:buChar char="•"/>
            </a:pPr>
            <a:r>
              <a:rPr lang="en-US" dirty="0">
                <a:solidFill>
                  <a:srgbClr val="575757"/>
                </a:solidFill>
              </a:rPr>
              <a:t>Questions?</a:t>
            </a:r>
          </a:p>
          <a:p>
            <a:endParaRPr lang="en-US" dirty="0">
              <a:solidFill>
                <a:srgbClr val="575757"/>
              </a:solidFill>
            </a:endParaRPr>
          </a:p>
          <a:p>
            <a:pPr algn="ctr"/>
            <a:endParaRPr lang="en-US" dirty="0">
              <a:solidFill>
                <a:srgbClr val="575757"/>
              </a:solidFill>
            </a:endParaRPr>
          </a:p>
        </p:txBody>
      </p:sp>
      <p:graphicFrame>
        <p:nvGraphicFramePr>
          <p:cNvPr id="6" name="Object 5" hidden="1"/>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4"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6"/>
          <p:cNvGrpSpPr>
            <a:grpSpLocks noChangeAspect="1"/>
          </p:cNvGrpSpPr>
          <p:nvPr/>
        </p:nvGrpSpPr>
        <p:grpSpPr>
          <a:xfrm>
            <a:off x="731520" y="3657600"/>
            <a:ext cx="1641475" cy="1641475"/>
            <a:chOff x="5275263" y="2608263"/>
            <a:chExt cx="1641475" cy="1641475"/>
          </a:xfrm>
        </p:grpSpPr>
        <p:sp>
          <p:nvSpPr>
            <p:cNvPr id="8" name="AutoShape 29"/>
            <p:cNvSpPr>
              <a:spLocks noChangeAspect="1" noChangeArrowheads="1" noTextEdit="1"/>
            </p:cNvSpPr>
            <p:nvPr/>
          </p:nvSpPr>
          <p:spPr bwMode="auto">
            <a:xfrm>
              <a:off x="5275263" y="2608263"/>
              <a:ext cx="16414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5510213" y="2794001"/>
              <a:ext cx="1171576" cy="1268413"/>
            </a:xfrm>
            <a:custGeom>
              <a:avLst/>
              <a:gdLst>
                <a:gd name="connsiteX0" fmla="*/ 623888 w 1171576"/>
                <a:gd name="connsiteY0" fmla="*/ 669925 h 1268413"/>
                <a:gd name="connsiteX1" fmla="*/ 1113715 w 1171576"/>
                <a:gd name="connsiteY1" fmla="*/ 669925 h 1268413"/>
                <a:gd name="connsiteX2" fmla="*/ 1113715 w 1171576"/>
                <a:gd name="connsiteY2" fmla="*/ 700562 h 1268413"/>
                <a:gd name="connsiteX3" fmla="*/ 1113715 w 1171576"/>
                <a:gd name="connsiteY3" fmla="*/ 1164390 h 1268413"/>
                <a:gd name="connsiteX4" fmla="*/ 1009920 w 1171576"/>
                <a:gd name="connsiteY4" fmla="*/ 1268413 h 1268413"/>
                <a:gd name="connsiteX5" fmla="*/ 656591 w 1171576"/>
                <a:gd name="connsiteY5" fmla="*/ 1268413 h 1268413"/>
                <a:gd name="connsiteX6" fmla="*/ 623888 w 1171576"/>
                <a:gd name="connsiteY6" fmla="*/ 1266988 h 1268413"/>
                <a:gd name="connsiteX7" fmla="*/ 623888 w 1171576"/>
                <a:gd name="connsiteY7" fmla="*/ 669925 h 1268413"/>
                <a:gd name="connsiteX8" fmla="*/ 55563 w 1171576"/>
                <a:gd name="connsiteY8" fmla="*/ 669925 h 1268413"/>
                <a:gd name="connsiteX9" fmla="*/ 546101 w 1171576"/>
                <a:gd name="connsiteY9" fmla="*/ 669925 h 1268413"/>
                <a:gd name="connsiteX10" fmla="*/ 546101 w 1171576"/>
                <a:gd name="connsiteY10" fmla="*/ 1266988 h 1268413"/>
                <a:gd name="connsiteX11" fmla="*/ 514063 w 1171576"/>
                <a:gd name="connsiteY11" fmla="*/ 1268413 h 1268413"/>
                <a:gd name="connsiteX12" fmla="*/ 160220 w 1171576"/>
                <a:gd name="connsiteY12" fmla="*/ 1268413 h 1268413"/>
                <a:gd name="connsiteX13" fmla="*/ 55563 w 1171576"/>
                <a:gd name="connsiteY13" fmla="*/ 1164390 h 1268413"/>
                <a:gd name="connsiteX14" fmla="*/ 55563 w 1171576"/>
                <a:gd name="connsiteY14" fmla="*/ 700562 h 1268413"/>
                <a:gd name="connsiteX15" fmla="*/ 55563 w 1171576"/>
                <a:gd name="connsiteY15" fmla="*/ 669925 h 1268413"/>
                <a:gd name="connsiteX16" fmla="*/ 623888 w 1171576"/>
                <a:gd name="connsiteY16" fmla="*/ 357187 h 1268413"/>
                <a:gd name="connsiteX17" fmla="*/ 1108272 w 1171576"/>
                <a:gd name="connsiteY17" fmla="*/ 357187 h 1268413"/>
                <a:gd name="connsiteX18" fmla="*/ 1171576 w 1171576"/>
                <a:gd name="connsiteY18" fmla="*/ 420640 h 1268413"/>
                <a:gd name="connsiteX19" fmla="*/ 1171576 w 1171576"/>
                <a:gd name="connsiteY19" fmla="*/ 531860 h 1268413"/>
                <a:gd name="connsiteX20" fmla="*/ 1108272 w 1171576"/>
                <a:gd name="connsiteY20" fmla="*/ 595312 h 1268413"/>
                <a:gd name="connsiteX21" fmla="*/ 623888 w 1171576"/>
                <a:gd name="connsiteY21" fmla="*/ 595312 h 1268413"/>
                <a:gd name="connsiteX22" fmla="*/ 623888 w 1171576"/>
                <a:gd name="connsiteY22" fmla="*/ 357187 h 1268413"/>
                <a:gd name="connsiteX23" fmla="*/ 63367 w 1171576"/>
                <a:gd name="connsiteY23" fmla="*/ 357187 h 1268413"/>
                <a:gd name="connsiteX24" fmla="*/ 546100 w 1171576"/>
                <a:gd name="connsiteY24" fmla="*/ 357187 h 1268413"/>
                <a:gd name="connsiteX25" fmla="*/ 546100 w 1171576"/>
                <a:gd name="connsiteY25" fmla="*/ 595312 h 1268413"/>
                <a:gd name="connsiteX26" fmla="*/ 63367 w 1171576"/>
                <a:gd name="connsiteY26" fmla="*/ 595312 h 1268413"/>
                <a:gd name="connsiteX27" fmla="*/ 0 w 1171576"/>
                <a:gd name="connsiteY27" fmla="*/ 531860 h 1268413"/>
                <a:gd name="connsiteX28" fmla="*/ 0 w 1171576"/>
                <a:gd name="connsiteY28" fmla="*/ 420640 h 1268413"/>
                <a:gd name="connsiteX29" fmla="*/ 63367 w 1171576"/>
                <a:gd name="connsiteY29" fmla="*/ 357187 h 1268413"/>
                <a:gd name="connsiteX30" fmla="*/ 869973 w 1171576"/>
                <a:gd name="connsiteY30" fmla="*/ 30162 h 1268413"/>
                <a:gd name="connsiteX31" fmla="*/ 601663 w 1171576"/>
                <a:gd name="connsiteY31" fmla="*/ 285677 h 1268413"/>
                <a:gd name="connsiteX32" fmla="*/ 602377 w 1171576"/>
                <a:gd name="connsiteY32" fmla="*/ 288531 h 1268413"/>
                <a:gd name="connsiteX33" fmla="*/ 640911 w 1171576"/>
                <a:gd name="connsiteY33" fmla="*/ 292100 h 1268413"/>
                <a:gd name="connsiteX34" fmla="*/ 944900 w 1171576"/>
                <a:gd name="connsiteY34" fmla="*/ 175049 h 1268413"/>
                <a:gd name="connsiteX35" fmla="*/ 941332 w 1171576"/>
                <a:gd name="connsiteY35" fmla="*/ 81551 h 1268413"/>
                <a:gd name="connsiteX36" fmla="*/ 869973 w 1171576"/>
                <a:gd name="connsiteY36" fmla="*/ 30162 h 1268413"/>
                <a:gd name="connsiteX37" fmla="*/ 300016 w 1171576"/>
                <a:gd name="connsiteY37" fmla="*/ 30162 h 1268413"/>
                <a:gd name="connsiteX38" fmla="*/ 228657 w 1171576"/>
                <a:gd name="connsiteY38" fmla="*/ 81551 h 1268413"/>
                <a:gd name="connsiteX39" fmla="*/ 225089 w 1171576"/>
                <a:gd name="connsiteY39" fmla="*/ 175049 h 1268413"/>
                <a:gd name="connsiteX40" fmla="*/ 529079 w 1171576"/>
                <a:gd name="connsiteY40" fmla="*/ 292100 h 1268413"/>
                <a:gd name="connsiteX41" fmla="*/ 567613 w 1171576"/>
                <a:gd name="connsiteY41" fmla="*/ 288531 h 1268413"/>
                <a:gd name="connsiteX42" fmla="*/ 568326 w 1171576"/>
                <a:gd name="connsiteY42" fmla="*/ 285677 h 1268413"/>
                <a:gd name="connsiteX43" fmla="*/ 300016 w 1171576"/>
                <a:gd name="connsiteY43" fmla="*/ 30162 h 1268413"/>
                <a:gd name="connsiteX44" fmla="*/ 300130 w 1171576"/>
                <a:gd name="connsiteY44" fmla="*/ 0 h 1268413"/>
                <a:gd name="connsiteX45" fmla="*/ 501672 w 1171576"/>
                <a:gd name="connsiteY45" fmla="*/ 139505 h 1268413"/>
                <a:gd name="connsiteX46" fmla="*/ 570039 w 1171576"/>
                <a:gd name="connsiteY46" fmla="*/ 231322 h 1268413"/>
                <a:gd name="connsiteX47" fmla="*/ 680425 w 1171576"/>
                <a:gd name="connsiteY47" fmla="*/ 27047 h 1268413"/>
                <a:gd name="connsiteX48" fmla="*/ 701077 w 1171576"/>
                <a:gd name="connsiteY48" fmla="*/ 34876 h 1268413"/>
                <a:gd name="connsiteX49" fmla="*/ 693243 w 1171576"/>
                <a:gd name="connsiteY49" fmla="*/ 54806 h 1268413"/>
                <a:gd name="connsiteX50" fmla="*/ 602087 w 1171576"/>
                <a:gd name="connsiteY50" fmla="*/ 229898 h 1268413"/>
                <a:gd name="connsiteX51" fmla="*/ 668318 w 1171576"/>
                <a:gd name="connsiteY51" fmla="*/ 139505 h 1268413"/>
                <a:gd name="connsiteX52" fmla="*/ 869860 w 1171576"/>
                <a:gd name="connsiteY52" fmla="*/ 0 h 1268413"/>
                <a:gd name="connsiteX53" fmla="*/ 968138 w 1171576"/>
                <a:gd name="connsiteY53" fmla="*/ 66905 h 1268413"/>
                <a:gd name="connsiteX54" fmla="*/ 971699 w 1171576"/>
                <a:gd name="connsiteY54" fmla="*/ 191463 h 1268413"/>
                <a:gd name="connsiteX55" fmla="*/ 820721 w 1171576"/>
                <a:gd name="connsiteY55" fmla="*/ 292533 h 1268413"/>
                <a:gd name="connsiteX56" fmla="*/ 641256 w 1171576"/>
                <a:gd name="connsiteY56" fmla="*/ 323850 h 1268413"/>
                <a:gd name="connsiteX57" fmla="*/ 584995 w 1171576"/>
                <a:gd name="connsiteY57" fmla="*/ 316021 h 1268413"/>
                <a:gd name="connsiteX58" fmla="*/ 528734 w 1171576"/>
                <a:gd name="connsiteY58" fmla="*/ 323850 h 1268413"/>
                <a:gd name="connsiteX59" fmla="*/ 349269 w 1171576"/>
                <a:gd name="connsiteY59" fmla="*/ 292533 h 1268413"/>
                <a:gd name="connsiteX60" fmla="*/ 198290 w 1171576"/>
                <a:gd name="connsiteY60" fmla="*/ 191463 h 1268413"/>
                <a:gd name="connsiteX61" fmla="*/ 201851 w 1171576"/>
                <a:gd name="connsiteY61" fmla="*/ 66905 h 1268413"/>
                <a:gd name="connsiteX62" fmla="*/ 300130 w 1171576"/>
                <a:gd name="connsiteY62"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71576" h="1268413">
                  <a:moveTo>
                    <a:pt x="623888" y="669925"/>
                  </a:moveTo>
                  <a:cubicBezTo>
                    <a:pt x="787401" y="669925"/>
                    <a:pt x="948781" y="669925"/>
                    <a:pt x="1113715" y="669925"/>
                  </a:cubicBezTo>
                  <a:cubicBezTo>
                    <a:pt x="1113715" y="680612"/>
                    <a:pt x="1113715" y="690587"/>
                    <a:pt x="1113715" y="700562"/>
                  </a:cubicBezTo>
                  <a:cubicBezTo>
                    <a:pt x="1113715" y="855171"/>
                    <a:pt x="1114426" y="1009781"/>
                    <a:pt x="1113715" y="1164390"/>
                  </a:cubicBezTo>
                  <a:cubicBezTo>
                    <a:pt x="1113715" y="1235639"/>
                    <a:pt x="1081013" y="1268413"/>
                    <a:pt x="1009920" y="1268413"/>
                  </a:cubicBezTo>
                  <a:cubicBezTo>
                    <a:pt x="891196" y="1268413"/>
                    <a:pt x="773893" y="1268413"/>
                    <a:pt x="656591" y="1268413"/>
                  </a:cubicBezTo>
                  <a:cubicBezTo>
                    <a:pt x="645927" y="1268413"/>
                    <a:pt x="635974" y="1267701"/>
                    <a:pt x="623888" y="1266988"/>
                  </a:cubicBezTo>
                  <a:cubicBezTo>
                    <a:pt x="623888" y="1067492"/>
                    <a:pt x="623888" y="870134"/>
                    <a:pt x="623888" y="669925"/>
                  </a:cubicBezTo>
                  <a:close/>
                  <a:moveTo>
                    <a:pt x="55563" y="669925"/>
                  </a:moveTo>
                  <a:cubicBezTo>
                    <a:pt x="220737" y="669925"/>
                    <a:pt x="382351" y="669925"/>
                    <a:pt x="546101" y="669925"/>
                  </a:cubicBezTo>
                  <a:cubicBezTo>
                    <a:pt x="546101" y="870134"/>
                    <a:pt x="546101" y="1067492"/>
                    <a:pt x="546101" y="1266988"/>
                  </a:cubicBezTo>
                  <a:cubicBezTo>
                    <a:pt x="533998" y="1267701"/>
                    <a:pt x="524031" y="1268413"/>
                    <a:pt x="514063" y="1268413"/>
                  </a:cubicBezTo>
                  <a:cubicBezTo>
                    <a:pt x="395878" y="1268413"/>
                    <a:pt x="278406" y="1268413"/>
                    <a:pt x="160220" y="1268413"/>
                  </a:cubicBezTo>
                  <a:cubicBezTo>
                    <a:pt x="88313" y="1268413"/>
                    <a:pt x="55563" y="1235639"/>
                    <a:pt x="55563" y="1164390"/>
                  </a:cubicBezTo>
                  <a:cubicBezTo>
                    <a:pt x="55563" y="1009781"/>
                    <a:pt x="55563" y="855171"/>
                    <a:pt x="55563" y="700562"/>
                  </a:cubicBezTo>
                  <a:cubicBezTo>
                    <a:pt x="55563" y="690587"/>
                    <a:pt x="55563" y="680612"/>
                    <a:pt x="55563" y="669925"/>
                  </a:cubicBezTo>
                  <a:close/>
                  <a:moveTo>
                    <a:pt x="623888" y="357187"/>
                  </a:moveTo>
                  <a:cubicBezTo>
                    <a:pt x="623888" y="357187"/>
                    <a:pt x="623888" y="357187"/>
                    <a:pt x="1108272" y="357187"/>
                  </a:cubicBezTo>
                  <a:cubicBezTo>
                    <a:pt x="1143125" y="357187"/>
                    <a:pt x="1171576" y="385705"/>
                    <a:pt x="1171576" y="420640"/>
                  </a:cubicBezTo>
                  <a:cubicBezTo>
                    <a:pt x="1171576" y="420640"/>
                    <a:pt x="1171576" y="420640"/>
                    <a:pt x="1171576" y="531860"/>
                  </a:cubicBezTo>
                  <a:cubicBezTo>
                    <a:pt x="1171576" y="566794"/>
                    <a:pt x="1143125" y="595312"/>
                    <a:pt x="1108272" y="595312"/>
                  </a:cubicBezTo>
                  <a:cubicBezTo>
                    <a:pt x="1108272" y="595312"/>
                    <a:pt x="1108272" y="595312"/>
                    <a:pt x="623888" y="595312"/>
                  </a:cubicBezTo>
                  <a:cubicBezTo>
                    <a:pt x="623888" y="595312"/>
                    <a:pt x="623888" y="595312"/>
                    <a:pt x="623888" y="357187"/>
                  </a:cubicBezTo>
                  <a:close/>
                  <a:moveTo>
                    <a:pt x="63367" y="357187"/>
                  </a:moveTo>
                  <a:cubicBezTo>
                    <a:pt x="63367" y="357187"/>
                    <a:pt x="63367" y="357187"/>
                    <a:pt x="546100" y="357187"/>
                  </a:cubicBezTo>
                  <a:cubicBezTo>
                    <a:pt x="546100" y="357187"/>
                    <a:pt x="546100" y="357187"/>
                    <a:pt x="546100" y="595312"/>
                  </a:cubicBezTo>
                  <a:cubicBezTo>
                    <a:pt x="546100" y="595312"/>
                    <a:pt x="546100" y="595312"/>
                    <a:pt x="63367" y="595312"/>
                  </a:cubicBezTo>
                  <a:cubicBezTo>
                    <a:pt x="28480" y="595312"/>
                    <a:pt x="0" y="566794"/>
                    <a:pt x="0" y="531860"/>
                  </a:cubicBezTo>
                  <a:cubicBezTo>
                    <a:pt x="0" y="531860"/>
                    <a:pt x="0" y="531860"/>
                    <a:pt x="0" y="420640"/>
                  </a:cubicBezTo>
                  <a:cubicBezTo>
                    <a:pt x="0" y="385705"/>
                    <a:pt x="28480" y="357187"/>
                    <a:pt x="63367" y="357187"/>
                  </a:cubicBezTo>
                  <a:close/>
                  <a:moveTo>
                    <a:pt x="869973" y="30162"/>
                  </a:moveTo>
                  <a:cubicBezTo>
                    <a:pt x="777206" y="30162"/>
                    <a:pt x="648760" y="208594"/>
                    <a:pt x="601663" y="285677"/>
                  </a:cubicBezTo>
                  <a:cubicBezTo>
                    <a:pt x="602377" y="286390"/>
                    <a:pt x="602377" y="287818"/>
                    <a:pt x="602377" y="288531"/>
                  </a:cubicBezTo>
                  <a:cubicBezTo>
                    <a:pt x="608799" y="290673"/>
                    <a:pt x="620930" y="292100"/>
                    <a:pt x="640911" y="292100"/>
                  </a:cubicBezTo>
                  <a:cubicBezTo>
                    <a:pt x="737245" y="292100"/>
                    <a:pt x="900657" y="249990"/>
                    <a:pt x="944900" y="175049"/>
                  </a:cubicBezTo>
                  <a:cubicBezTo>
                    <a:pt x="962026" y="146500"/>
                    <a:pt x="960599" y="115809"/>
                    <a:pt x="941332" y="81551"/>
                  </a:cubicBezTo>
                  <a:cubicBezTo>
                    <a:pt x="922065" y="45864"/>
                    <a:pt x="898517" y="30162"/>
                    <a:pt x="869973" y="30162"/>
                  </a:cubicBezTo>
                  <a:close/>
                  <a:moveTo>
                    <a:pt x="300016" y="30162"/>
                  </a:moveTo>
                  <a:cubicBezTo>
                    <a:pt x="271473" y="30162"/>
                    <a:pt x="247924" y="45864"/>
                    <a:pt x="228657" y="81551"/>
                  </a:cubicBezTo>
                  <a:cubicBezTo>
                    <a:pt x="209390" y="115809"/>
                    <a:pt x="207963" y="146500"/>
                    <a:pt x="225089" y="175049"/>
                  </a:cubicBezTo>
                  <a:cubicBezTo>
                    <a:pt x="269332" y="249990"/>
                    <a:pt x="432744" y="292100"/>
                    <a:pt x="529079" y="292100"/>
                  </a:cubicBezTo>
                  <a:cubicBezTo>
                    <a:pt x="549059" y="292100"/>
                    <a:pt x="561190" y="290673"/>
                    <a:pt x="567613" y="288531"/>
                  </a:cubicBezTo>
                  <a:cubicBezTo>
                    <a:pt x="567613" y="287818"/>
                    <a:pt x="567613" y="286390"/>
                    <a:pt x="568326" y="285677"/>
                  </a:cubicBezTo>
                  <a:cubicBezTo>
                    <a:pt x="521229" y="208594"/>
                    <a:pt x="392783" y="30162"/>
                    <a:pt x="300016" y="30162"/>
                  </a:cubicBezTo>
                  <a:close/>
                  <a:moveTo>
                    <a:pt x="300130" y="0"/>
                  </a:moveTo>
                  <a:cubicBezTo>
                    <a:pt x="356390" y="0"/>
                    <a:pt x="424758" y="46264"/>
                    <a:pt x="501672" y="139505"/>
                  </a:cubicBezTo>
                  <a:cubicBezTo>
                    <a:pt x="528734" y="173669"/>
                    <a:pt x="552947" y="207122"/>
                    <a:pt x="570039" y="231322"/>
                  </a:cubicBezTo>
                  <a:cubicBezTo>
                    <a:pt x="576449" y="176516"/>
                    <a:pt x="599950" y="64058"/>
                    <a:pt x="680425" y="27047"/>
                  </a:cubicBezTo>
                  <a:cubicBezTo>
                    <a:pt x="688258" y="23488"/>
                    <a:pt x="697516" y="27047"/>
                    <a:pt x="701077" y="34876"/>
                  </a:cubicBezTo>
                  <a:cubicBezTo>
                    <a:pt x="704638" y="42706"/>
                    <a:pt x="701077" y="51247"/>
                    <a:pt x="693243" y="54806"/>
                  </a:cubicBezTo>
                  <a:cubicBezTo>
                    <a:pt x="629861" y="84699"/>
                    <a:pt x="608496" y="177940"/>
                    <a:pt x="602087" y="229898"/>
                  </a:cubicBezTo>
                  <a:cubicBezTo>
                    <a:pt x="618466" y="204987"/>
                    <a:pt x="641968" y="172246"/>
                    <a:pt x="668318" y="139505"/>
                  </a:cubicBezTo>
                  <a:cubicBezTo>
                    <a:pt x="745231" y="46264"/>
                    <a:pt x="813599" y="0"/>
                    <a:pt x="869860" y="0"/>
                  </a:cubicBezTo>
                  <a:cubicBezTo>
                    <a:pt x="909741" y="0"/>
                    <a:pt x="943213" y="22776"/>
                    <a:pt x="968138" y="66905"/>
                  </a:cubicBezTo>
                  <a:cubicBezTo>
                    <a:pt x="993064" y="111034"/>
                    <a:pt x="993776" y="153740"/>
                    <a:pt x="971699" y="191463"/>
                  </a:cubicBezTo>
                  <a:cubicBezTo>
                    <a:pt x="941076" y="242710"/>
                    <a:pt x="872709" y="274739"/>
                    <a:pt x="820721" y="292533"/>
                  </a:cubicBezTo>
                  <a:cubicBezTo>
                    <a:pt x="763035" y="311750"/>
                    <a:pt x="693956" y="323850"/>
                    <a:pt x="641256" y="323850"/>
                  </a:cubicBezTo>
                  <a:cubicBezTo>
                    <a:pt x="612769" y="323850"/>
                    <a:pt x="595677" y="320291"/>
                    <a:pt x="584995" y="316021"/>
                  </a:cubicBezTo>
                  <a:cubicBezTo>
                    <a:pt x="574312" y="320291"/>
                    <a:pt x="557220" y="323850"/>
                    <a:pt x="528734" y="323850"/>
                  </a:cubicBezTo>
                  <a:cubicBezTo>
                    <a:pt x="476034" y="323850"/>
                    <a:pt x="406954" y="311750"/>
                    <a:pt x="349269" y="292533"/>
                  </a:cubicBezTo>
                  <a:cubicBezTo>
                    <a:pt x="297281" y="274739"/>
                    <a:pt x="228913" y="242710"/>
                    <a:pt x="198290" y="191463"/>
                  </a:cubicBezTo>
                  <a:cubicBezTo>
                    <a:pt x="176213" y="153740"/>
                    <a:pt x="176925" y="111034"/>
                    <a:pt x="201851" y="66905"/>
                  </a:cubicBezTo>
                  <a:cubicBezTo>
                    <a:pt x="226777" y="22776"/>
                    <a:pt x="260248" y="0"/>
                    <a:pt x="30013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p:cNvPicPr>
            <a:picLocks noChangeAspect="1"/>
          </p:cNvPicPr>
          <p:nvPr/>
        </p:nvPicPr>
        <p:blipFill>
          <a:blip r:embed="rId10"/>
          <a:stretch>
            <a:fillRect/>
          </a:stretch>
        </p:blipFill>
        <p:spPr>
          <a:xfrm>
            <a:off x="4331415" y="1404937"/>
            <a:ext cx="6762750" cy="4505325"/>
          </a:xfrm>
          <a:prstGeom prst="rect">
            <a:avLst/>
          </a:prstGeom>
        </p:spPr>
      </p:pic>
    </p:spTree>
    <p:extLst>
      <p:ext uri="{BB962C8B-B14F-4D97-AF65-F5344CB8AC3E}">
        <p14:creationId xmlns:p14="http://schemas.microsoft.com/office/powerpoint/2010/main" val="373035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5"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a:t>ETL</a:t>
            </a:r>
            <a:r>
              <a:rPr lang="en-US" dirty="0"/>
              <a:t> Process	</a:t>
            </a:r>
          </a:p>
        </p:txBody>
      </p:sp>
      <p:sp>
        <p:nvSpPr>
          <p:cNvPr id="5" name="TextBox 4"/>
          <p:cNvSpPr txBox="1"/>
          <p:nvPr/>
        </p:nvSpPr>
        <p:spPr>
          <a:xfrm>
            <a:off x="4475188" y="942007"/>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Find Datasets</a:t>
            </a:r>
          </a:p>
          <a:p>
            <a:pPr marL="742950" lvl="1" indent="-285750">
              <a:buFont typeface="Arial" panose="020B0604020202020204" pitchFamily="34" charset="0"/>
              <a:buChar char="•"/>
            </a:pPr>
            <a:r>
              <a:rPr lang="en-US" sz="1400" dirty="0">
                <a:solidFill>
                  <a:srgbClr val="575757"/>
                </a:solidFill>
              </a:rPr>
              <a:t>UCI Tennis Major Tournament Match Statistics Data Set </a:t>
            </a:r>
          </a:p>
          <a:p>
            <a:pPr marL="742950" lvl="1" indent="-285750">
              <a:buFont typeface="Arial" panose="020B0604020202020204" pitchFamily="34" charset="0"/>
              <a:buChar char="•"/>
            </a:pPr>
            <a:r>
              <a:rPr lang="en-US" sz="900" dirty="0">
                <a:hlinkClick r:id="rId7"/>
              </a:rPr>
              <a:t>https://archive.ics.uci.edu/ml/datasets/Tennis+Major+Tournament+Match+Statistics</a:t>
            </a:r>
            <a:endParaRPr lang="en-US" sz="900" dirty="0"/>
          </a:p>
          <a:p>
            <a:pPr marL="742950" lvl="1" indent="-285750">
              <a:buFont typeface="Arial" panose="020B0604020202020204" pitchFamily="34" charset="0"/>
              <a:buChar char="•"/>
            </a:pPr>
            <a:r>
              <a:rPr lang="en-US" sz="1400" dirty="0">
                <a:solidFill>
                  <a:srgbClr val="575757"/>
                </a:solidFill>
              </a:rPr>
              <a:t>Ultimate Tennis Statistics</a:t>
            </a:r>
          </a:p>
          <a:p>
            <a:pPr marL="742950" lvl="1" indent="-285750">
              <a:buFont typeface="Arial" panose="020B0604020202020204" pitchFamily="34" charset="0"/>
              <a:buChar char="•"/>
            </a:pPr>
            <a:r>
              <a:rPr lang="en-US" sz="900" dirty="0">
                <a:hlinkClick r:id="rId8"/>
              </a:rPr>
              <a:t>https://www.ultimatetennisstatistics.com/</a:t>
            </a:r>
            <a:endParaRPr lang="en-US" sz="900" dirty="0">
              <a:solidFill>
                <a:srgbClr val="575757"/>
              </a:solidFill>
            </a:endParaRPr>
          </a:p>
          <a:p>
            <a:pPr marL="285750" indent="-285750">
              <a:buFont typeface="Arial" panose="020B0604020202020204" pitchFamily="34" charset="0"/>
              <a:buChar char="•"/>
            </a:pPr>
            <a:r>
              <a:rPr lang="en-US" dirty="0">
                <a:solidFill>
                  <a:srgbClr val="575757"/>
                </a:solidFill>
              </a:rPr>
              <a:t>Create Data Frames</a:t>
            </a:r>
          </a:p>
          <a:p>
            <a:pPr marL="742950" lvl="1" indent="-285750">
              <a:buFont typeface="Arial" panose="020B0604020202020204" pitchFamily="34" charset="0"/>
              <a:buChar char="•"/>
            </a:pPr>
            <a:r>
              <a:rPr lang="en-US" sz="1400" dirty="0">
                <a:solidFill>
                  <a:srgbClr val="575757"/>
                </a:solidFill>
              </a:rPr>
              <a:t>Loop through csv files and merge/</a:t>
            </a:r>
            <a:r>
              <a:rPr lang="en-US" sz="1400" dirty="0" err="1">
                <a:solidFill>
                  <a:srgbClr val="575757"/>
                </a:solidFill>
              </a:rPr>
              <a:t>concat</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Create SQLite Database</a:t>
            </a:r>
          </a:p>
          <a:p>
            <a:pPr marL="742950" lvl="1" indent="-285750">
              <a:buFont typeface="Arial" panose="020B0604020202020204" pitchFamily="34" charset="0"/>
              <a:buChar char="•"/>
            </a:pPr>
            <a:r>
              <a:rPr lang="en-US" sz="1400" dirty="0" err="1">
                <a:solidFill>
                  <a:srgbClr val="575757"/>
                </a:solidFill>
              </a:rPr>
              <a:t>Tennis_Collection.db</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Add Data Frames to Database as Separate Tables</a:t>
            </a:r>
          </a:p>
          <a:p>
            <a:pPr marL="742950" lvl="1" indent="-285750">
              <a:buFont typeface="Arial" panose="020B0604020202020204" pitchFamily="34" charset="0"/>
              <a:buChar char="•"/>
            </a:pPr>
            <a:r>
              <a:rPr lang="en-US" sz="1400" dirty="0" err="1">
                <a:solidFill>
                  <a:srgbClr val="575757"/>
                </a:solidFill>
              </a:rPr>
              <a:t>UTS_All</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Mens_Tournaments</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Womens_Tournaments</a:t>
            </a:r>
            <a:r>
              <a:rPr lang="en-US" dirty="0">
                <a:solidFill>
                  <a:srgbClr val="575757"/>
                </a:solidFill>
              </a:rPr>
              <a:t> </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6238"/>
            <a:chOff x="5272881" y="2605881"/>
            <a:chExt cx="1646238" cy="1646238"/>
          </a:xfrm>
        </p:grpSpPr>
        <p:sp>
          <p:nvSpPr>
            <p:cNvPr id="7" name="AutoShape 91"/>
            <p:cNvSpPr>
              <a:spLocks noChangeAspect="1" noChangeArrowheads="1" noTextEdit="1"/>
            </p:cNvSpPr>
            <p:nvPr/>
          </p:nvSpPr>
          <p:spPr bwMode="auto">
            <a:xfrm>
              <a:off x="5272881" y="2605881"/>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9730" y="2801143"/>
              <a:ext cx="1250950" cy="1252539"/>
            </a:xfrm>
            <a:custGeom>
              <a:avLst/>
              <a:gdLst>
                <a:gd name="connsiteX0" fmla="*/ 625475 w 1250950"/>
                <a:gd name="connsiteY0" fmla="*/ 1098551 h 1252539"/>
                <a:gd name="connsiteX1" fmla="*/ 679712 w 1250950"/>
                <a:gd name="connsiteY1" fmla="*/ 1121470 h 1252539"/>
                <a:gd name="connsiteX2" fmla="*/ 703263 w 1250950"/>
                <a:gd name="connsiteY2" fmla="*/ 1175187 h 1252539"/>
                <a:gd name="connsiteX3" fmla="*/ 679712 w 1250950"/>
                <a:gd name="connsiteY3" fmla="*/ 1230336 h 1252539"/>
                <a:gd name="connsiteX4" fmla="*/ 625475 w 1250950"/>
                <a:gd name="connsiteY4" fmla="*/ 1252539 h 1252539"/>
                <a:gd name="connsiteX5" fmla="*/ 547688 w 1250950"/>
                <a:gd name="connsiteY5" fmla="*/ 1175187 h 1252539"/>
                <a:gd name="connsiteX6" fmla="*/ 625475 w 1250950"/>
                <a:gd name="connsiteY6" fmla="*/ 1098551 h 1252539"/>
                <a:gd name="connsiteX7" fmla="*/ 889746 w 1250950"/>
                <a:gd name="connsiteY7" fmla="*/ 1025387 h 1252539"/>
                <a:gd name="connsiteX8" fmla="*/ 918834 w 1250950"/>
                <a:gd name="connsiteY8" fmla="*/ 1027352 h 1252539"/>
                <a:gd name="connsiteX9" fmla="*/ 965802 w 1250950"/>
                <a:gd name="connsiteY9" fmla="*/ 1063071 h 1252539"/>
                <a:gd name="connsiteX10" fmla="*/ 972918 w 1250950"/>
                <a:gd name="connsiteY10" fmla="*/ 1121650 h 1252539"/>
                <a:gd name="connsiteX11" fmla="*/ 937336 w 1250950"/>
                <a:gd name="connsiteY11" fmla="*/ 1169513 h 1252539"/>
                <a:gd name="connsiteX12" fmla="*/ 900331 w 1250950"/>
                <a:gd name="connsiteY12" fmla="*/ 1179514 h 1252539"/>
                <a:gd name="connsiteX13" fmla="*/ 834149 w 1250950"/>
                <a:gd name="connsiteY13" fmla="*/ 1140223 h 1252539"/>
                <a:gd name="connsiteX14" fmla="*/ 861191 w 1250950"/>
                <a:gd name="connsiteY14" fmla="*/ 1035210 h 1252539"/>
                <a:gd name="connsiteX15" fmla="*/ 889746 w 1250950"/>
                <a:gd name="connsiteY15" fmla="*/ 1025387 h 1252539"/>
                <a:gd name="connsiteX16" fmla="*/ 360188 w 1250950"/>
                <a:gd name="connsiteY16" fmla="*/ 1024249 h 1252539"/>
                <a:gd name="connsiteX17" fmla="*/ 388741 w 1250950"/>
                <a:gd name="connsiteY17" fmla="*/ 1034350 h 1252539"/>
                <a:gd name="connsiteX18" fmla="*/ 417384 w 1250950"/>
                <a:gd name="connsiteY18" fmla="*/ 1140183 h 1252539"/>
                <a:gd name="connsiteX19" fmla="*/ 350074 w 1250950"/>
                <a:gd name="connsiteY19" fmla="*/ 1179513 h 1252539"/>
                <a:gd name="connsiteX20" fmla="*/ 311406 w 1250950"/>
                <a:gd name="connsiteY20" fmla="*/ 1169502 h 1252539"/>
                <a:gd name="connsiteX21" fmla="*/ 275603 w 1250950"/>
                <a:gd name="connsiteY21" fmla="*/ 1121591 h 1252539"/>
                <a:gd name="connsiteX22" fmla="*/ 283480 w 1250950"/>
                <a:gd name="connsiteY22" fmla="*/ 1062238 h 1252539"/>
                <a:gd name="connsiteX23" fmla="*/ 330024 w 1250950"/>
                <a:gd name="connsiteY23" fmla="*/ 1026484 h 1252539"/>
                <a:gd name="connsiteX24" fmla="*/ 360188 w 1250950"/>
                <a:gd name="connsiteY24" fmla="*/ 1024249 h 1252539"/>
                <a:gd name="connsiteX25" fmla="*/ 1110520 w 1250950"/>
                <a:gd name="connsiteY25" fmla="*/ 825552 h 1252539"/>
                <a:gd name="connsiteX26" fmla="*/ 1139209 w 1250950"/>
                <a:gd name="connsiteY26" fmla="*/ 835005 h 1252539"/>
                <a:gd name="connsiteX27" fmla="*/ 1175420 w 1250950"/>
                <a:gd name="connsiteY27" fmla="*/ 881926 h 1252539"/>
                <a:gd name="connsiteX28" fmla="*/ 1168320 w 1250950"/>
                <a:gd name="connsiteY28" fmla="*/ 939511 h 1252539"/>
                <a:gd name="connsiteX29" fmla="*/ 1100868 w 1250950"/>
                <a:gd name="connsiteY29" fmla="*/ 977901 h 1252539"/>
                <a:gd name="connsiteX30" fmla="*/ 1062526 w 1250950"/>
                <a:gd name="connsiteY30" fmla="*/ 967237 h 1252539"/>
                <a:gd name="connsiteX31" fmla="*/ 1034835 w 1250950"/>
                <a:gd name="connsiteY31" fmla="*/ 863442 h 1252539"/>
                <a:gd name="connsiteX32" fmla="*/ 1081164 w 1250950"/>
                <a:gd name="connsiteY32" fmla="*/ 827629 h 1252539"/>
                <a:gd name="connsiteX33" fmla="*/ 1110520 w 1250950"/>
                <a:gd name="connsiteY33" fmla="*/ 825552 h 1252539"/>
                <a:gd name="connsiteX34" fmla="*/ 139908 w 1250950"/>
                <a:gd name="connsiteY34" fmla="*/ 823788 h 1252539"/>
                <a:gd name="connsiteX35" fmla="*/ 170061 w 1250950"/>
                <a:gd name="connsiteY35" fmla="*/ 825762 h 1252539"/>
                <a:gd name="connsiteX36" fmla="*/ 217303 w 1250950"/>
                <a:gd name="connsiteY36" fmla="*/ 861644 h 1252539"/>
                <a:gd name="connsiteX37" fmla="*/ 225177 w 1250950"/>
                <a:gd name="connsiteY37" fmla="*/ 920490 h 1252539"/>
                <a:gd name="connsiteX38" fmla="*/ 188672 w 1250950"/>
                <a:gd name="connsiteY38" fmla="*/ 967854 h 1252539"/>
                <a:gd name="connsiteX39" fmla="*/ 150019 w 1250950"/>
                <a:gd name="connsiteY39" fmla="*/ 977901 h 1252539"/>
                <a:gd name="connsiteX40" fmla="*/ 82734 w 1250950"/>
                <a:gd name="connsiteY40" fmla="*/ 939149 h 1252539"/>
                <a:gd name="connsiteX41" fmla="*/ 74860 w 1250950"/>
                <a:gd name="connsiteY41" fmla="*/ 880302 h 1252539"/>
                <a:gd name="connsiteX42" fmla="*/ 111366 w 1250950"/>
                <a:gd name="connsiteY42" fmla="*/ 833656 h 1252539"/>
                <a:gd name="connsiteX43" fmla="*/ 139908 w 1250950"/>
                <a:gd name="connsiteY43" fmla="*/ 823788 h 1252539"/>
                <a:gd name="connsiteX44" fmla="*/ 78145 w 1250950"/>
                <a:gd name="connsiteY44" fmla="*/ 581025 h 1252539"/>
                <a:gd name="connsiteX45" fmla="*/ 31750 w 1250950"/>
                <a:gd name="connsiteY45" fmla="*/ 626269 h 1252539"/>
                <a:gd name="connsiteX46" fmla="*/ 78145 w 1250950"/>
                <a:gd name="connsiteY46" fmla="*/ 671513 h 1252539"/>
                <a:gd name="connsiteX47" fmla="*/ 123825 w 1250950"/>
                <a:gd name="connsiteY47" fmla="*/ 626269 h 1252539"/>
                <a:gd name="connsiteX48" fmla="*/ 78145 w 1250950"/>
                <a:gd name="connsiteY48" fmla="*/ 581025 h 1252539"/>
                <a:gd name="connsiteX49" fmla="*/ 1174396 w 1250950"/>
                <a:gd name="connsiteY49" fmla="*/ 549276 h 1252539"/>
                <a:gd name="connsiteX50" fmla="*/ 1250950 w 1250950"/>
                <a:gd name="connsiteY50" fmla="*/ 627064 h 1252539"/>
                <a:gd name="connsiteX51" fmla="*/ 1228976 w 1250950"/>
                <a:gd name="connsiteY51" fmla="*/ 682014 h 1252539"/>
                <a:gd name="connsiteX52" fmla="*/ 1174396 w 1250950"/>
                <a:gd name="connsiteY52" fmla="*/ 704851 h 1252539"/>
                <a:gd name="connsiteX53" fmla="*/ 1121233 w 1250950"/>
                <a:gd name="connsiteY53" fmla="*/ 682014 h 1252539"/>
                <a:gd name="connsiteX54" fmla="*/ 1098550 w 1250950"/>
                <a:gd name="connsiteY54" fmla="*/ 627064 h 1252539"/>
                <a:gd name="connsiteX55" fmla="*/ 1174396 w 1250950"/>
                <a:gd name="connsiteY55" fmla="*/ 549276 h 1252539"/>
                <a:gd name="connsiteX56" fmla="*/ 77349 w 1250950"/>
                <a:gd name="connsiteY56" fmla="*/ 549275 h 1252539"/>
                <a:gd name="connsiteX57" fmla="*/ 153988 w 1250950"/>
                <a:gd name="connsiteY57" fmla="*/ 627063 h 1252539"/>
                <a:gd name="connsiteX58" fmla="*/ 77349 w 1250950"/>
                <a:gd name="connsiteY58" fmla="*/ 704850 h 1252539"/>
                <a:gd name="connsiteX59" fmla="*/ 0 w 1250950"/>
                <a:gd name="connsiteY59" fmla="*/ 627063 h 1252539"/>
                <a:gd name="connsiteX60" fmla="*/ 77349 w 1250950"/>
                <a:gd name="connsiteY60" fmla="*/ 549275 h 1252539"/>
                <a:gd name="connsiteX61" fmla="*/ 150337 w 1250950"/>
                <a:gd name="connsiteY61" fmla="*/ 304801 h 1252539"/>
                <a:gd name="connsiteX62" fmla="*/ 138193 w 1250950"/>
                <a:gd name="connsiteY62" fmla="*/ 306228 h 1252539"/>
                <a:gd name="connsiteX63" fmla="*/ 110332 w 1250950"/>
                <a:gd name="connsiteY63" fmla="*/ 327624 h 1252539"/>
                <a:gd name="connsiteX64" fmla="*/ 106046 w 1250950"/>
                <a:gd name="connsiteY64" fmla="*/ 362572 h 1252539"/>
                <a:gd name="connsiteX65" fmla="*/ 127477 w 1250950"/>
                <a:gd name="connsiteY65" fmla="*/ 391101 h 1252539"/>
                <a:gd name="connsiteX66" fmla="*/ 190342 w 1250950"/>
                <a:gd name="connsiteY66" fmla="*/ 373271 h 1252539"/>
                <a:gd name="connsiteX67" fmla="*/ 173197 w 1250950"/>
                <a:gd name="connsiteY67" fmla="*/ 311220 h 1252539"/>
                <a:gd name="connsiteX68" fmla="*/ 150337 w 1250950"/>
                <a:gd name="connsiteY68" fmla="*/ 304801 h 1252539"/>
                <a:gd name="connsiteX69" fmla="*/ 1091768 w 1250950"/>
                <a:gd name="connsiteY69" fmla="*/ 275124 h 1252539"/>
                <a:gd name="connsiteX70" fmla="*/ 1168578 w 1250950"/>
                <a:gd name="connsiteY70" fmla="*/ 313390 h 1252539"/>
                <a:gd name="connsiteX71" fmla="*/ 1140130 w 1250950"/>
                <a:gd name="connsiteY71" fmla="*/ 419529 h 1252539"/>
                <a:gd name="connsiteX72" fmla="*/ 1101725 w 1250950"/>
                <a:gd name="connsiteY72" fmla="*/ 430214 h 1252539"/>
                <a:gd name="connsiteX73" fmla="*/ 1081100 w 1250950"/>
                <a:gd name="connsiteY73" fmla="*/ 427364 h 1252539"/>
                <a:gd name="connsiteX74" fmla="*/ 1034872 w 1250950"/>
                <a:gd name="connsiteY74" fmla="*/ 390323 h 1252539"/>
                <a:gd name="connsiteX75" fmla="*/ 1062609 w 1250950"/>
                <a:gd name="connsiteY75" fmla="*/ 284896 h 1252539"/>
                <a:gd name="connsiteX76" fmla="*/ 1091768 w 1250950"/>
                <a:gd name="connsiteY76" fmla="*/ 275124 h 1252539"/>
                <a:gd name="connsiteX77" fmla="*/ 160548 w 1250950"/>
                <a:gd name="connsiteY77" fmla="*/ 275101 h 1252539"/>
                <a:gd name="connsiteX78" fmla="*/ 190245 w 1250950"/>
                <a:gd name="connsiteY78" fmla="*/ 284875 h 1252539"/>
                <a:gd name="connsiteX79" fmla="*/ 218205 w 1250950"/>
                <a:gd name="connsiteY79" fmla="*/ 390198 h 1252539"/>
                <a:gd name="connsiteX80" fmla="*/ 150813 w 1250950"/>
                <a:gd name="connsiteY80" fmla="*/ 428626 h 1252539"/>
                <a:gd name="connsiteX81" fmla="*/ 112099 w 1250950"/>
                <a:gd name="connsiteY81" fmla="*/ 418663 h 1252539"/>
                <a:gd name="connsiteX82" fmla="*/ 83421 w 1250950"/>
                <a:gd name="connsiteY82" fmla="*/ 312629 h 1252539"/>
                <a:gd name="connsiteX83" fmla="*/ 160548 w 1250950"/>
                <a:gd name="connsiteY83" fmla="*/ 275101 h 1252539"/>
                <a:gd name="connsiteX84" fmla="*/ 349683 w 1250950"/>
                <a:gd name="connsiteY84" fmla="*/ 104776 h 1252539"/>
                <a:gd name="connsiteX85" fmla="*/ 326529 w 1250950"/>
                <a:gd name="connsiteY85" fmla="*/ 110482 h 1252539"/>
                <a:gd name="connsiteX86" fmla="*/ 309887 w 1250950"/>
                <a:gd name="connsiteY86" fmla="*/ 173959 h 1252539"/>
                <a:gd name="connsiteX87" fmla="*/ 373560 w 1250950"/>
                <a:gd name="connsiteY87" fmla="*/ 190363 h 1252539"/>
                <a:gd name="connsiteX88" fmla="*/ 390926 w 1250950"/>
                <a:gd name="connsiteY88" fmla="*/ 128313 h 1252539"/>
                <a:gd name="connsiteX89" fmla="*/ 361983 w 1250950"/>
                <a:gd name="connsiteY89" fmla="*/ 106203 h 1252539"/>
                <a:gd name="connsiteX90" fmla="*/ 349683 w 1250950"/>
                <a:gd name="connsiteY90" fmla="*/ 104776 h 1252539"/>
                <a:gd name="connsiteX91" fmla="*/ 910324 w 1250950"/>
                <a:gd name="connsiteY91" fmla="*/ 73158 h 1252539"/>
                <a:gd name="connsiteX92" fmla="*/ 939560 w 1250950"/>
                <a:gd name="connsiteY92" fmla="*/ 82659 h 1252539"/>
                <a:gd name="connsiteX93" fmla="*/ 975349 w 1250950"/>
                <a:gd name="connsiteY93" fmla="*/ 130591 h 1252539"/>
                <a:gd name="connsiteX94" fmla="*/ 967476 w 1250950"/>
                <a:gd name="connsiteY94" fmla="*/ 189254 h 1252539"/>
                <a:gd name="connsiteX95" fmla="*/ 920949 w 1250950"/>
                <a:gd name="connsiteY95" fmla="*/ 225739 h 1252539"/>
                <a:gd name="connsiteX96" fmla="*/ 900907 w 1250950"/>
                <a:gd name="connsiteY96" fmla="*/ 228601 h 1252539"/>
                <a:gd name="connsiteX97" fmla="*/ 862254 w 1250950"/>
                <a:gd name="connsiteY97" fmla="*/ 217870 h 1252539"/>
                <a:gd name="connsiteX98" fmla="*/ 825748 w 1250950"/>
                <a:gd name="connsiteY98" fmla="*/ 170654 h 1252539"/>
                <a:gd name="connsiteX99" fmla="*/ 833622 w 1250950"/>
                <a:gd name="connsiteY99" fmla="*/ 111991 h 1252539"/>
                <a:gd name="connsiteX100" fmla="*/ 910324 w 1250950"/>
                <a:gd name="connsiteY100" fmla="*/ 73158 h 1252539"/>
                <a:gd name="connsiteX101" fmla="*/ 339659 w 1250950"/>
                <a:gd name="connsiteY101" fmla="*/ 73158 h 1252539"/>
                <a:gd name="connsiteX102" fmla="*/ 370319 w 1250950"/>
                <a:gd name="connsiteY102" fmla="*/ 74857 h 1252539"/>
                <a:gd name="connsiteX103" fmla="*/ 417379 w 1250950"/>
                <a:gd name="connsiteY103" fmla="*/ 111326 h 1252539"/>
                <a:gd name="connsiteX104" fmla="*/ 425222 w 1250950"/>
                <a:gd name="connsiteY104" fmla="*/ 170679 h 1252539"/>
                <a:gd name="connsiteX105" fmla="*/ 388858 w 1250950"/>
                <a:gd name="connsiteY105" fmla="*/ 217875 h 1252539"/>
                <a:gd name="connsiteX106" fmla="*/ 350354 w 1250950"/>
                <a:gd name="connsiteY106" fmla="*/ 228601 h 1252539"/>
                <a:gd name="connsiteX107" fmla="*/ 283329 w 1250950"/>
                <a:gd name="connsiteY107" fmla="*/ 189271 h 1252539"/>
                <a:gd name="connsiteX108" fmla="*/ 311137 w 1250950"/>
                <a:gd name="connsiteY108" fmla="*/ 82723 h 1252539"/>
                <a:gd name="connsiteX109" fmla="*/ 339659 w 1250950"/>
                <a:gd name="connsiteY109" fmla="*/ 73158 h 1252539"/>
                <a:gd name="connsiteX110" fmla="*/ 625476 w 1250950"/>
                <a:gd name="connsiteY110" fmla="*/ 31750 h 1252539"/>
                <a:gd name="connsiteX111" fmla="*/ 593106 w 1250950"/>
                <a:gd name="connsiteY111" fmla="*/ 44598 h 1252539"/>
                <a:gd name="connsiteX112" fmla="*/ 579438 w 1250950"/>
                <a:gd name="connsiteY112" fmla="*/ 78145 h 1252539"/>
                <a:gd name="connsiteX113" fmla="*/ 625476 w 1250950"/>
                <a:gd name="connsiteY113" fmla="*/ 123825 h 1252539"/>
                <a:gd name="connsiteX114" fmla="*/ 671513 w 1250950"/>
                <a:gd name="connsiteY114" fmla="*/ 78145 h 1252539"/>
                <a:gd name="connsiteX115" fmla="*/ 625476 w 1250950"/>
                <a:gd name="connsiteY115" fmla="*/ 31750 h 1252539"/>
                <a:gd name="connsiteX116" fmla="*/ 625476 w 1250950"/>
                <a:gd name="connsiteY116" fmla="*/ 0 h 1252539"/>
                <a:gd name="connsiteX117" fmla="*/ 679713 w 1250950"/>
                <a:gd name="connsiteY117" fmla="*/ 22225 h 1252539"/>
                <a:gd name="connsiteX118" fmla="*/ 703263 w 1250950"/>
                <a:gd name="connsiteY118" fmla="*/ 78146 h 1252539"/>
                <a:gd name="connsiteX119" fmla="*/ 625476 w 1250950"/>
                <a:gd name="connsiteY119" fmla="*/ 155575 h 1252539"/>
                <a:gd name="connsiteX120" fmla="*/ 547688 w 1250950"/>
                <a:gd name="connsiteY120" fmla="*/ 78146 h 1252539"/>
                <a:gd name="connsiteX121" fmla="*/ 570525 w 1250950"/>
                <a:gd name="connsiteY121" fmla="*/ 22225 h 1252539"/>
                <a:gd name="connsiteX122" fmla="*/ 625476 w 1250950"/>
                <a:gd name="connsiteY122" fmla="*/ 0 h 125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0950" h="1252539">
                  <a:moveTo>
                    <a:pt x="625475" y="1098551"/>
                  </a:moveTo>
                  <a:cubicBezTo>
                    <a:pt x="646171" y="1098551"/>
                    <a:pt x="665439" y="1107146"/>
                    <a:pt x="679712" y="1121470"/>
                  </a:cubicBezTo>
                  <a:cubicBezTo>
                    <a:pt x="694699" y="1135079"/>
                    <a:pt x="703263" y="1155133"/>
                    <a:pt x="703263" y="1175187"/>
                  </a:cubicBezTo>
                  <a:cubicBezTo>
                    <a:pt x="703263" y="1195957"/>
                    <a:pt x="694699" y="1215296"/>
                    <a:pt x="679712" y="1230336"/>
                  </a:cubicBezTo>
                  <a:cubicBezTo>
                    <a:pt x="665439" y="1244661"/>
                    <a:pt x="646171" y="1252539"/>
                    <a:pt x="625475" y="1252539"/>
                  </a:cubicBezTo>
                  <a:cubicBezTo>
                    <a:pt x="582656" y="1252539"/>
                    <a:pt x="547688" y="1218160"/>
                    <a:pt x="547688" y="1175187"/>
                  </a:cubicBezTo>
                  <a:cubicBezTo>
                    <a:pt x="547688" y="1132930"/>
                    <a:pt x="582656" y="1098551"/>
                    <a:pt x="625475" y="1098551"/>
                  </a:cubicBezTo>
                  <a:close/>
                  <a:moveTo>
                    <a:pt x="889746" y="1025387"/>
                  </a:moveTo>
                  <a:cubicBezTo>
                    <a:pt x="899620" y="1024137"/>
                    <a:pt x="909583" y="1024851"/>
                    <a:pt x="918834" y="1027352"/>
                  </a:cubicBezTo>
                  <a:cubicBezTo>
                    <a:pt x="938760" y="1033067"/>
                    <a:pt x="955839" y="1045211"/>
                    <a:pt x="965802" y="1063071"/>
                  </a:cubicBezTo>
                  <a:cubicBezTo>
                    <a:pt x="975053" y="1080930"/>
                    <a:pt x="977900" y="1102361"/>
                    <a:pt x="972918" y="1121650"/>
                  </a:cubicBezTo>
                  <a:cubicBezTo>
                    <a:pt x="967937" y="1141652"/>
                    <a:pt x="955127" y="1159512"/>
                    <a:pt x="937336" y="1169513"/>
                  </a:cubicBezTo>
                  <a:cubicBezTo>
                    <a:pt x="925239" y="1176657"/>
                    <a:pt x="912429" y="1179514"/>
                    <a:pt x="900331" y="1179514"/>
                  </a:cubicBezTo>
                  <a:cubicBezTo>
                    <a:pt x="873289" y="1179514"/>
                    <a:pt x="848382" y="1165941"/>
                    <a:pt x="834149" y="1140223"/>
                  </a:cubicBezTo>
                  <a:cubicBezTo>
                    <a:pt x="812800" y="1103790"/>
                    <a:pt x="825609" y="1056641"/>
                    <a:pt x="861191" y="1035210"/>
                  </a:cubicBezTo>
                  <a:cubicBezTo>
                    <a:pt x="870087" y="1029852"/>
                    <a:pt x="879872" y="1026637"/>
                    <a:pt x="889746" y="1025387"/>
                  </a:cubicBezTo>
                  <a:close/>
                  <a:moveTo>
                    <a:pt x="360188" y="1024249"/>
                  </a:moveTo>
                  <a:cubicBezTo>
                    <a:pt x="370124" y="1025590"/>
                    <a:pt x="379791" y="1028987"/>
                    <a:pt x="388741" y="1034350"/>
                  </a:cubicBezTo>
                  <a:cubicBezTo>
                    <a:pt x="425977" y="1055087"/>
                    <a:pt x="438150" y="1103714"/>
                    <a:pt x="417384" y="1140183"/>
                  </a:cubicBezTo>
                  <a:cubicBezTo>
                    <a:pt x="403063" y="1165211"/>
                    <a:pt x="376568" y="1179513"/>
                    <a:pt x="350074" y="1179513"/>
                  </a:cubicBezTo>
                  <a:cubicBezTo>
                    <a:pt x="337185" y="1179513"/>
                    <a:pt x="323580" y="1175938"/>
                    <a:pt x="311406" y="1169502"/>
                  </a:cubicBezTo>
                  <a:cubicBezTo>
                    <a:pt x="293505" y="1158060"/>
                    <a:pt x="280616" y="1141613"/>
                    <a:pt x="275603" y="1121591"/>
                  </a:cubicBezTo>
                  <a:cubicBezTo>
                    <a:pt x="269875" y="1101568"/>
                    <a:pt x="272739" y="1080831"/>
                    <a:pt x="283480" y="1062238"/>
                  </a:cubicBezTo>
                  <a:cubicBezTo>
                    <a:pt x="293505" y="1044361"/>
                    <a:pt x="309974" y="1031489"/>
                    <a:pt x="330024" y="1026484"/>
                  </a:cubicBezTo>
                  <a:cubicBezTo>
                    <a:pt x="340049" y="1023623"/>
                    <a:pt x="350253" y="1022908"/>
                    <a:pt x="360188" y="1024249"/>
                  </a:cubicBezTo>
                  <a:close/>
                  <a:moveTo>
                    <a:pt x="1110520" y="825552"/>
                  </a:moveTo>
                  <a:cubicBezTo>
                    <a:pt x="1120393" y="826740"/>
                    <a:pt x="1130156" y="829851"/>
                    <a:pt x="1139209" y="835005"/>
                  </a:cubicBezTo>
                  <a:cubicBezTo>
                    <a:pt x="1157670" y="845669"/>
                    <a:pt x="1170450" y="862020"/>
                    <a:pt x="1175420" y="881926"/>
                  </a:cubicBezTo>
                  <a:cubicBezTo>
                    <a:pt x="1181100" y="901832"/>
                    <a:pt x="1178260" y="922449"/>
                    <a:pt x="1168320" y="939511"/>
                  </a:cubicBezTo>
                  <a:cubicBezTo>
                    <a:pt x="1154119" y="964394"/>
                    <a:pt x="1127139" y="977901"/>
                    <a:pt x="1100868" y="977901"/>
                  </a:cubicBezTo>
                  <a:cubicBezTo>
                    <a:pt x="1088087" y="977901"/>
                    <a:pt x="1074597" y="974347"/>
                    <a:pt x="1062526" y="967237"/>
                  </a:cubicBezTo>
                  <a:cubicBezTo>
                    <a:pt x="1025605" y="946620"/>
                    <a:pt x="1012825" y="899699"/>
                    <a:pt x="1034835" y="863442"/>
                  </a:cubicBezTo>
                  <a:cubicBezTo>
                    <a:pt x="1045131" y="844958"/>
                    <a:pt x="1062171" y="832695"/>
                    <a:pt x="1081164" y="827629"/>
                  </a:cubicBezTo>
                  <a:cubicBezTo>
                    <a:pt x="1090661" y="825097"/>
                    <a:pt x="1100646" y="824363"/>
                    <a:pt x="1110520" y="825552"/>
                  </a:cubicBezTo>
                  <a:close/>
                  <a:moveTo>
                    <a:pt x="139908" y="823788"/>
                  </a:moveTo>
                  <a:cubicBezTo>
                    <a:pt x="149840" y="822532"/>
                    <a:pt x="160040" y="823250"/>
                    <a:pt x="170061" y="825762"/>
                  </a:cubicBezTo>
                  <a:cubicBezTo>
                    <a:pt x="190103" y="830785"/>
                    <a:pt x="207282" y="843703"/>
                    <a:pt x="217303" y="861644"/>
                  </a:cubicBezTo>
                  <a:cubicBezTo>
                    <a:pt x="228040" y="879585"/>
                    <a:pt x="230188" y="900396"/>
                    <a:pt x="225177" y="920490"/>
                  </a:cubicBezTo>
                  <a:cubicBezTo>
                    <a:pt x="219451" y="940584"/>
                    <a:pt x="206567" y="957090"/>
                    <a:pt x="188672" y="967854"/>
                  </a:cubicBezTo>
                  <a:cubicBezTo>
                    <a:pt x="177219" y="975031"/>
                    <a:pt x="162903" y="977901"/>
                    <a:pt x="150019" y="977901"/>
                  </a:cubicBezTo>
                  <a:cubicBezTo>
                    <a:pt x="122819" y="977901"/>
                    <a:pt x="97050" y="964266"/>
                    <a:pt x="82734" y="939149"/>
                  </a:cubicBezTo>
                  <a:cubicBezTo>
                    <a:pt x="72713" y="921208"/>
                    <a:pt x="69850" y="900396"/>
                    <a:pt x="74860" y="880302"/>
                  </a:cubicBezTo>
                  <a:cubicBezTo>
                    <a:pt x="80587" y="860208"/>
                    <a:pt x="93471" y="843703"/>
                    <a:pt x="111366" y="833656"/>
                  </a:cubicBezTo>
                  <a:cubicBezTo>
                    <a:pt x="120313" y="828273"/>
                    <a:pt x="129977" y="825044"/>
                    <a:pt x="139908" y="823788"/>
                  </a:cubicBezTo>
                  <a:close/>
                  <a:moveTo>
                    <a:pt x="78145" y="581025"/>
                  </a:moveTo>
                  <a:cubicBezTo>
                    <a:pt x="51736" y="581025"/>
                    <a:pt x="31750" y="601526"/>
                    <a:pt x="31750" y="626269"/>
                  </a:cubicBezTo>
                  <a:cubicBezTo>
                    <a:pt x="31750" y="651012"/>
                    <a:pt x="51736" y="671513"/>
                    <a:pt x="78145" y="671513"/>
                  </a:cubicBezTo>
                  <a:cubicBezTo>
                    <a:pt x="103126" y="671513"/>
                    <a:pt x="123825" y="651012"/>
                    <a:pt x="123825" y="626269"/>
                  </a:cubicBezTo>
                  <a:cubicBezTo>
                    <a:pt x="123825" y="601526"/>
                    <a:pt x="103126" y="581025"/>
                    <a:pt x="78145" y="581025"/>
                  </a:cubicBezTo>
                  <a:close/>
                  <a:moveTo>
                    <a:pt x="1174396" y="549276"/>
                  </a:moveTo>
                  <a:cubicBezTo>
                    <a:pt x="1216926" y="549276"/>
                    <a:pt x="1250950" y="584958"/>
                    <a:pt x="1250950" y="627064"/>
                  </a:cubicBezTo>
                  <a:cubicBezTo>
                    <a:pt x="1250950" y="647759"/>
                    <a:pt x="1243153" y="667028"/>
                    <a:pt x="1228976" y="682014"/>
                  </a:cubicBezTo>
                  <a:cubicBezTo>
                    <a:pt x="1214091" y="697001"/>
                    <a:pt x="1194952" y="704851"/>
                    <a:pt x="1174396" y="704851"/>
                  </a:cubicBezTo>
                  <a:cubicBezTo>
                    <a:pt x="1153840" y="704851"/>
                    <a:pt x="1134701" y="697001"/>
                    <a:pt x="1121233" y="682014"/>
                  </a:cubicBezTo>
                  <a:cubicBezTo>
                    <a:pt x="1107056" y="667028"/>
                    <a:pt x="1098550" y="647759"/>
                    <a:pt x="1098550" y="627064"/>
                  </a:cubicBezTo>
                  <a:cubicBezTo>
                    <a:pt x="1098550" y="584958"/>
                    <a:pt x="1132574" y="549276"/>
                    <a:pt x="1174396" y="549276"/>
                  </a:cubicBezTo>
                  <a:close/>
                  <a:moveTo>
                    <a:pt x="77349" y="549275"/>
                  </a:moveTo>
                  <a:cubicBezTo>
                    <a:pt x="119217" y="549275"/>
                    <a:pt x="153988" y="584244"/>
                    <a:pt x="153988" y="627063"/>
                  </a:cubicBezTo>
                  <a:cubicBezTo>
                    <a:pt x="153988" y="669881"/>
                    <a:pt x="119217" y="704850"/>
                    <a:pt x="77349" y="704850"/>
                  </a:cubicBezTo>
                  <a:cubicBezTo>
                    <a:pt x="34062" y="704850"/>
                    <a:pt x="0" y="669881"/>
                    <a:pt x="0" y="627063"/>
                  </a:cubicBezTo>
                  <a:cubicBezTo>
                    <a:pt x="0" y="584244"/>
                    <a:pt x="34062" y="549275"/>
                    <a:pt x="77349" y="549275"/>
                  </a:cubicBezTo>
                  <a:close/>
                  <a:moveTo>
                    <a:pt x="150337" y="304801"/>
                  </a:moveTo>
                  <a:cubicBezTo>
                    <a:pt x="146051" y="304801"/>
                    <a:pt x="142479" y="305514"/>
                    <a:pt x="138193" y="306228"/>
                  </a:cubicBezTo>
                  <a:cubicBezTo>
                    <a:pt x="126763" y="309794"/>
                    <a:pt x="116761" y="316926"/>
                    <a:pt x="110332" y="327624"/>
                  </a:cubicBezTo>
                  <a:cubicBezTo>
                    <a:pt x="104617" y="338323"/>
                    <a:pt x="103188" y="350448"/>
                    <a:pt x="106046" y="362572"/>
                  </a:cubicBezTo>
                  <a:cubicBezTo>
                    <a:pt x="108903" y="373984"/>
                    <a:pt x="116761" y="384682"/>
                    <a:pt x="127477" y="391101"/>
                  </a:cubicBezTo>
                  <a:cubicBezTo>
                    <a:pt x="148908" y="403226"/>
                    <a:pt x="177484" y="396094"/>
                    <a:pt x="190342" y="373271"/>
                  </a:cubicBezTo>
                  <a:cubicBezTo>
                    <a:pt x="203201" y="351874"/>
                    <a:pt x="195343" y="324058"/>
                    <a:pt x="173197" y="311220"/>
                  </a:cubicBezTo>
                  <a:cubicBezTo>
                    <a:pt x="166054" y="306941"/>
                    <a:pt x="158195" y="304801"/>
                    <a:pt x="150337" y="304801"/>
                  </a:cubicBezTo>
                  <a:close/>
                  <a:moveTo>
                    <a:pt x="1091768" y="275124"/>
                  </a:moveTo>
                  <a:cubicBezTo>
                    <a:pt x="1121772" y="271451"/>
                    <a:pt x="1152576" y="285609"/>
                    <a:pt x="1168578" y="313390"/>
                  </a:cubicBezTo>
                  <a:cubicBezTo>
                    <a:pt x="1190625" y="350432"/>
                    <a:pt x="1177112" y="398158"/>
                    <a:pt x="1140130" y="419529"/>
                  </a:cubicBezTo>
                  <a:cubicBezTo>
                    <a:pt x="1128751" y="426652"/>
                    <a:pt x="1115238" y="430214"/>
                    <a:pt x="1101725" y="430214"/>
                  </a:cubicBezTo>
                  <a:cubicBezTo>
                    <a:pt x="1094613" y="430214"/>
                    <a:pt x="1088212" y="428789"/>
                    <a:pt x="1081100" y="427364"/>
                  </a:cubicBezTo>
                  <a:cubicBezTo>
                    <a:pt x="1061898" y="421666"/>
                    <a:pt x="1044829" y="408844"/>
                    <a:pt x="1034872" y="390323"/>
                  </a:cubicBezTo>
                  <a:cubicBezTo>
                    <a:pt x="1012825" y="353993"/>
                    <a:pt x="1025626" y="306266"/>
                    <a:pt x="1062609" y="284896"/>
                  </a:cubicBezTo>
                  <a:cubicBezTo>
                    <a:pt x="1071854" y="279554"/>
                    <a:pt x="1081767" y="276348"/>
                    <a:pt x="1091768" y="275124"/>
                  </a:cubicBezTo>
                  <a:close/>
                  <a:moveTo>
                    <a:pt x="160548" y="275101"/>
                  </a:moveTo>
                  <a:cubicBezTo>
                    <a:pt x="170663" y="276336"/>
                    <a:pt x="180745" y="279538"/>
                    <a:pt x="190245" y="284875"/>
                  </a:cubicBezTo>
                  <a:cubicBezTo>
                    <a:pt x="226808" y="306224"/>
                    <a:pt x="239713" y="353193"/>
                    <a:pt x="218205" y="390198"/>
                  </a:cubicBezTo>
                  <a:cubicBezTo>
                    <a:pt x="203866" y="415105"/>
                    <a:pt x="177340" y="428626"/>
                    <a:pt x="150813" y="428626"/>
                  </a:cubicBezTo>
                  <a:cubicBezTo>
                    <a:pt x="137191" y="428626"/>
                    <a:pt x="124287" y="425780"/>
                    <a:pt x="112099" y="418663"/>
                  </a:cubicBezTo>
                  <a:cubicBezTo>
                    <a:pt x="74818" y="397314"/>
                    <a:pt x="61913" y="349634"/>
                    <a:pt x="83421" y="312629"/>
                  </a:cubicBezTo>
                  <a:cubicBezTo>
                    <a:pt x="99552" y="285409"/>
                    <a:pt x="130201" y="271399"/>
                    <a:pt x="160548" y="275101"/>
                  </a:cubicBezTo>
                  <a:close/>
                  <a:moveTo>
                    <a:pt x="349683" y="104776"/>
                  </a:moveTo>
                  <a:cubicBezTo>
                    <a:pt x="341724" y="104776"/>
                    <a:pt x="333765" y="106916"/>
                    <a:pt x="326529" y="110482"/>
                  </a:cubicBezTo>
                  <a:cubicBezTo>
                    <a:pt x="304822" y="124033"/>
                    <a:pt x="296863" y="151849"/>
                    <a:pt x="309887" y="173959"/>
                  </a:cubicBezTo>
                  <a:cubicBezTo>
                    <a:pt x="322911" y="195356"/>
                    <a:pt x="351130" y="203201"/>
                    <a:pt x="373560" y="190363"/>
                  </a:cubicBezTo>
                  <a:cubicBezTo>
                    <a:pt x="395991" y="177525"/>
                    <a:pt x="403226" y="149709"/>
                    <a:pt x="390926" y="128313"/>
                  </a:cubicBezTo>
                  <a:cubicBezTo>
                    <a:pt x="384414" y="116901"/>
                    <a:pt x="374284" y="109055"/>
                    <a:pt x="361983" y="106203"/>
                  </a:cubicBezTo>
                  <a:cubicBezTo>
                    <a:pt x="357642" y="104776"/>
                    <a:pt x="354024" y="104776"/>
                    <a:pt x="349683" y="104776"/>
                  </a:cubicBezTo>
                  <a:close/>
                  <a:moveTo>
                    <a:pt x="910324" y="73158"/>
                  </a:moveTo>
                  <a:cubicBezTo>
                    <a:pt x="920323" y="74343"/>
                    <a:pt x="930254" y="77473"/>
                    <a:pt x="939560" y="82659"/>
                  </a:cubicBezTo>
                  <a:cubicBezTo>
                    <a:pt x="957455" y="94106"/>
                    <a:pt x="970339" y="110560"/>
                    <a:pt x="975349" y="130591"/>
                  </a:cubicBezTo>
                  <a:cubicBezTo>
                    <a:pt x="981076" y="150622"/>
                    <a:pt x="978213" y="171369"/>
                    <a:pt x="967476" y="189254"/>
                  </a:cubicBezTo>
                  <a:cubicBezTo>
                    <a:pt x="957455" y="207139"/>
                    <a:pt x="940991" y="220731"/>
                    <a:pt x="920949" y="225739"/>
                  </a:cubicBezTo>
                  <a:cubicBezTo>
                    <a:pt x="913791" y="227885"/>
                    <a:pt x="907349" y="228601"/>
                    <a:pt x="900907" y="228601"/>
                  </a:cubicBezTo>
                  <a:cubicBezTo>
                    <a:pt x="887307" y="228601"/>
                    <a:pt x="873707" y="225024"/>
                    <a:pt x="862254" y="217870"/>
                  </a:cubicBezTo>
                  <a:cubicBezTo>
                    <a:pt x="844359" y="207139"/>
                    <a:pt x="831475" y="190685"/>
                    <a:pt x="825748" y="170654"/>
                  </a:cubicBezTo>
                  <a:cubicBezTo>
                    <a:pt x="820738" y="150622"/>
                    <a:pt x="823601" y="129876"/>
                    <a:pt x="833622" y="111991"/>
                  </a:cubicBezTo>
                  <a:cubicBezTo>
                    <a:pt x="849727" y="83554"/>
                    <a:pt x="880328" y="69603"/>
                    <a:pt x="910324" y="73158"/>
                  </a:cubicBezTo>
                  <a:close/>
                  <a:moveTo>
                    <a:pt x="339659" y="73158"/>
                  </a:moveTo>
                  <a:cubicBezTo>
                    <a:pt x="349641" y="71818"/>
                    <a:pt x="359980" y="72354"/>
                    <a:pt x="370319" y="74857"/>
                  </a:cubicBezTo>
                  <a:cubicBezTo>
                    <a:pt x="390284" y="80577"/>
                    <a:pt x="407396" y="93449"/>
                    <a:pt x="417379" y="111326"/>
                  </a:cubicBezTo>
                  <a:cubicBezTo>
                    <a:pt x="427361" y="129919"/>
                    <a:pt x="430213" y="150656"/>
                    <a:pt x="425222" y="170679"/>
                  </a:cubicBezTo>
                  <a:cubicBezTo>
                    <a:pt x="419518" y="190701"/>
                    <a:pt x="406683" y="207148"/>
                    <a:pt x="388858" y="217875"/>
                  </a:cubicBezTo>
                  <a:cubicBezTo>
                    <a:pt x="376736" y="225026"/>
                    <a:pt x="363188" y="228601"/>
                    <a:pt x="350354" y="228601"/>
                  </a:cubicBezTo>
                  <a:cubicBezTo>
                    <a:pt x="323259" y="228601"/>
                    <a:pt x="297590" y="213584"/>
                    <a:pt x="283329" y="189271"/>
                  </a:cubicBezTo>
                  <a:cubicBezTo>
                    <a:pt x="261938" y="152086"/>
                    <a:pt x="274773" y="104175"/>
                    <a:pt x="311137" y="82723"/>
                  </a:cubicBezTo>
                  <a:cubicBezTo>
                    <a:pt x="320050" y="77717"/>
                    <a:pt x="329676" y="74499"/>
                    <a:pt x="339659" y="73158"/>
                  </a:cubicBezTo>
                  <a:close/>
                  <a:moveTo>
                    <a:pt x="625476" y="31750"/>
                  </a:moveTo>
                  <a:cubicBezTo>
                    <a:pt x="613247" y="31750"/>
                    <a:pt x="601738" y="36033"/>
                    <a:pt x="593106" y="44598"/>
                  </a:cubicBezTo>
                  <a:cubicBezTo>
                    <a:pt x="584474" y="53163"/>
                    <a:pt x="579438" y="66011"/>
                    <a:pt x="579438" y="78145"/>
                  </a:cubicBezTo>
                  <a:cubicBezTo>
                    <a:pt x="579438" y="103126"/>
                    <a:pt x="600299" y="123825"/>
                    <a:pt x="625476" y="123825"/>
                  </a:cubicBezTo>
                  <a:cubicBezTo>
                    <a:pt x="650653" y="123825"/>
                    <a:pt x="671513" y="103126"/>
                    <a:pt x="671513" y="78145"/>
                  </a:cubicBezTo>
                  <a:cubicBezTo>
                    <a:pt x="671513" y="51735"/>
                    <a:pt x="650653" y="31750"/>
                    <a:pt x="625476" y="31750"/>
                  </a:cubicBezTo>
                  <a:close/>
                  <a:moveTo>
                    <a:pt x="625476" y="0"/>
                  </a:moveTo>
                  <a:cubicBezTo>
                    <a:pt x="646172" y="0"/>
                    <a:pt x="665440" y="7886"/>
                    <a:pt x="679713" y="22225"/>
                  </a:cubicBezTo>
                  <a:cubicBezTo>
                    <a:pt x="695413" y="37281"/>
                    <a:pt x="703263" y="56638"/>
                    <a:pt x="703263" y="78146"/>
                  </a:cubicBezTo>
                  <a:cubicBezTo>
                    <a:pt x="703263" y="120445"/>
                    <a:pt x="668295" y="155575"/>
                    <a:pt x="625476" y="155575"/>
                  </a:cubicBezTo>
                  <a:cubicBezTo>
                    <a:pt x="583371" y="155575"/>
                    <a:pt x="547688" y="120445"/>
                    <a:pt x="547688" y="78146"/>
                  </a:cubicBezTo>
                  <a:cubicBezTo>
                    <a:pt x="547688" y="56638"/>
                    <a:pt x="555538" y="37281"/>
                    <a:pt x="570525" y="22225"/>
                  </a:cubicBezTo>
                  <a:cubicBezTo>
                    <a:pt x="585512" y="7886"/>
                    <a:pt x="604780" y="0"/>
                    <a:pt x="62547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9" name="Picture 8">
            <a:extLst>
              <a:ext uri="{FF2B5EF4-FFF2-40B4-BE49-F238E27FC236}">
                <a16:creationId xmlns:a16="http://schemas.microsoft.com/office/drawing/2014/main" id="{F2A479F7-90A3-434D-9BF0-3B7703E8789B}"/>
              </a:ext>
            </a:extLst>
          </p:cNvPr>
          <p:cNvPicPr>
            <a:picLocks noChangeAspect="1"/>
          </p:cNvPicPr>
          <p:nvPr/>
        </p:nvPicPr>
        <p:blipFill>
          <a:blip r:embed="rId9"/>
          <a:stretch>
            <a:fillRect/>
          </a:stretch>
        </p:blipFill>
        <p:spPr>
          <a:xfrm>
            <a:off x="4404167" y="4282281"/>
            <a:ext cx="7056313" cy="1646239"/>
          </a:xfrm>
          <a:prstGeom prst="rect">
            <a:avLst/>
          </a:prstGeom>
        </p:spPr>
      </p:pic>
    </p:spTree>
    <p:extLst>
      <p:ext uri="{BB962C8B-B14F-4D97-AF65-F5344CB8AC3E}">
        <p14:creationId xmlns:p14="http://schemas.microsoft.com/office/powerpoint/2010/main" val="3003698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8"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andas Profiling</a:t>
            </a:r>
          </a:p>
        </p:txBody>
      </p:sp>
      <p:grpSp>
        <p:nvGrpSpPr>
          <p:cNvPr id="4" name="Group 3"/>
          <p:cNvGrpSpPr/>
          <p:nvPr/>
        </p:nvGrpSpPr>
        <p:grpSpPr>
          <a:xfrm>
            <a:off x="456517" y="1742250"/>
            <a:ext cx="10099594" cy="4531228"/>
            <a:chOff x="456517" y="1742250"/>
            <a:chExt cx="7505700" cy="2943226"/>
          </a:xfrm>
        </p:grpSpPr>
        <p:pic>
          <p:nvPicPr>
            <p:cNvPr id="115718" name="Picture 6" descr="https://lh3.googleusercontent.com/688GQQT9Si-xZsJK4fFbpgdDIQK0vFkfkvBcaZi8tvUU5lhwgUouM_SjlbKwdkIkxEjPSAMqjEHUptZAeBz7yC2IZTK32M3yCaXIVJQcOSlNlApmcNsNxgbpu8hnO89Sf7v2Vf3nqFc"/>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6517" y="1742250"/>
              <a:ext cx="4667250" cy="2943226"/>
            </a:xfrm>
            <a:prstGeom prst="rect">
              <a:avLst/>
            </a:prstGeom>
            <a:noFill/>
            <a:extLst>
              <a:ext uri="{909E8E84-426E-40DD-AFC4-6F175D3DCCD1}">
                <a14:hiddenFill xmlns:a14="http://schemas.microsoft.com/office/drawing/2010/main">
                  <a:solidFill>
                    <a:srgbClr val="FFFFFF"/>
                  </a:solidFill>
                </a14:hiddenFill>
              </a:ext>
            </a:extLst>
          </p:spPr>
        </p:pic>
        <p:pic>
          <p:nvPicPr>
            <p:cNvPr id="115720" name="Picture 8" descr="https://lh3.googleusercontent.com/VBNFIGUUwEuY6wCqcG8UtHTaTbD-aiIOxRUR_bHFZW6gNwLt6SOkzxiQa2h7RLYqnV0HFSDnd2pCfoRPEmtBqrWkoYv4oc_I1Sps0qKnvchhxfTaEWKts0RPEeC9bOeJCBS2hZkjd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23767" y="1742250"/>
              <a:ext cx="2838450" cy="1276351"/>
            </a:xfrm>
            <a:prstGeom prst="rect">
              <a:avLst/>
            </a:prstGeom>
            <a:noFill/>
            <a:extLst>
              <a:ext uri="{909E8E84-426E-40DD-AFC4-6F175D3DCCD1}">
                <a14:hiddenFill xmlns:a14="http://schemas.microsoft.com/office/drawing/2010/main">
                  <a:solidFill>
                    <a:srgbClr val="FFFFFF"/>
                  </a:solidFill>
                </a14:hiddenFill>
              </a:ext>
            </a:extLst>
          </p:spPr>
        </p:pic>
        <p:pic>
          <p:nvPicPr>
            <p:cNvPr id="115722" name="Picture 10" descr="https://lh6.googleusercontent.com/8boJwHl1rGuuLJoayP7I2_fABC6sUqYYx1ETPOgoNTgclM1JP-itqdBmNPLvopa3GcKRhdO2kgzGTzVOEj37uk86rclVAweCWI02bzZycnc09yugQdHR8uabpwXWoxm_xG8nEhx4Lq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23767" y="3342450"/>
              <a:ext cx="2838450" cy="134302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05201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6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2"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Random Forest</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ata Cleaning</a:t>
            </a:r>
          </a:p>
          <a:p>
            <a:pPr marL="285750" indent="-285750">
              <a:buFont typeface="Arial" panose="020B0604020202020204" pitchFamily="34" charset="0"/>
              <a:buChar char="•"/>
            </a:pPr>
            <a:r>
              <a:rPr lang="en-US" dirty="0">
                <a:solidFill>
                  <a:srgbClr val="575757"/>
                </a:solidFill>
              </a:rPr>
              <a:t>Remove Null Values</a:t>
            </a:r>
          </a:p>
          <a:p>
            <a:pPr marL="285750" indent="-285750">
              <a:buFont typeface="Arial" panose="020B0604020202020204" pitchFamily="34" charset="0"/>
              <a:buChar char="•"/>
            </a:pPr>
            <a:r>
              <a:rPr lang="en-US" dirty="0">
                <a:solidFill>
                  <a:srgbClr val="575757"/>
                </a:solidFill>
              </a:rPr>
              <a:t>Train Data</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4650"/>
            <a:chOff x="5273675" y="2606675"/>
            <a:chExt cx="1646238" cy="1644650"/>
          </a:xfrm>
        </p:grpSpPr>
        <p:sp>
          <p:nvSpPr>
            <p:cNvPr id="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2587" y="2776538"/>
              <a:ext cx="1270000" cy="1298575"/>
            </a:xfrm>
            <a:custGeom>
              <a:avLst/>
              <a:gdLst>
                <a:gd name="connsiteX0" fmla="*/ 706437 w 1270000"/>
                <a:gd name="connsiteY0" fmla="*/ 1049337 h 1298575"/>
                <a:gd name="connsiteX1" fmla="*/ 981905 w 1270000"/>
                <a:gd name="connsiteY1" fmla="*/ 1182122 h 1298575"/>
                <a:gd name="connsiteX2" fmla="*/ 1157462 w 1270000"/>
                <a:gd name="connsiteY2" fmla="*/ 1267332 h 1298575"/>
                <a:gd name="connsiteX3" fmla="*/ 1173162 w 1270000"/>
                <a:gd name="connsiteY3" fmla="*/ 1282953 h 1298575"/>
                <a:gd name="connsiteX4" fmla="*/ 1157462 w 1270000"/>
                <a:gd name="connsiteY4" fmla="*/ 1298575 h 1298575"/>
                <a:gd name="connsiteX5" fmla="*/ 963350 w 1270000"/>
                <a:gd name="connsiteY5" fmla="*/ 1207685 h 1298575"/>
                <a:gd name="connsiteX6" fmla="*/ 707865 w 1270000"/>
                <a:gd name="connsiteY6" fmla="*/ 1080581 h 1298575"/>
                <a:gd name="connsiteX7" fmla="*/ 706437 w 1270000"/>
                <a:gd name="connsiteY7" fmla="*/ 1049337 h 1298575"/>
                <a:gd name="connsiteX8" fmla="*/ 563562 w 1270000"/>
                <a:gd name="connsiteY8" fmla="*/ 1049337 h 1298575"/>
                <a:gd name="connsiteX9" fmla="*/ 562846 w 1270000"/>
                <a:gd name="connsiteY9" fmla="*/ 1081291 h 1298575"/>
                <a:gd name="connsiteX10" fmla="*/ 307293 w 1270000"/>
                <a:gd name="connsiteY10" fmla="*/ 1207685 h 1298575"/>
                <a:gd name="connsiteX11" fmla="*/ 112585 w 1270000"/>
                <a:gd name="connsiteY11" fmla="*/ 1298575 h 1298575"/>
                <a:gd name="connsiteX12" fmla="*/ 96837 w 1270000"/>
                <a:gd name="connsiteY12" fmla="*/ 1282953 h 1298575"/>
                <a:gd name="connsiteX13" fmla="*/ 112585 w 1270000"/>
                <a:gd name="connsiteY13" fmla="*/ 1267332 h 1298575"/>
                <a:gd name="connsiteX14" fmla="*/ 288681 w 1270000"/>
                <a:gd name="connsiteY14" fmla="*/ 1182122 h 1298575"/>
                <a:gd name="connsiteX15" fmla="*/ 563562 w 1270000"/>
                <a:gd name="connsiteY15" fmla="*/ 1049337 h 1298575"/>
                <a:gd name="connsiteX16" fmla="*/ 1237456 w 1270000"/>
                <a:gd name="connsiteY16" fmla="*/ 927100 h 1298575"/>
                <a:gd name="connsiteX17" fmla="*/ 1263650 w 1270000"/>
                <a:gd name="connsiteY17" fmla="*/ 952500 h 1298575"/>
                <a:gd name="connsiteX18" fmla="*/ 1237456 w 1270000"/>
                <a:gd name="connsiteY18" fmla="*/ 977900 h 1298575"/>
                <a:gd name="connsiteX19" fmla="*/ 1211262 w 1270000"/>
                <a:gd name="connsiteY19" fmla="*/ 952500 h 1298575"/>
                <a:gd name="connsiteX20" fmla="*/ 1237456 w 1270000"/>
                <a:gd name="connsiteY20" fmla="*/ 927100 h 1298575"/>
                <a:gd name="connsiteX21" fmla="*/ 32544 w 1270000"/>
                <a:gd name="connsiteY21" fmla="*/ 927100 h 1298575"/>
                <a:gd name="connsiteX22" fmla="*/ 58738 w 1270000"/>
                <a:gd name="connsiteY22" fmla="*/ 952500 h 1298575"/>
                <a:gd name="connsiteX23" fmla="*/ 32544 w 1270000"/>
                <a:gd name="connsiteY23" fmla="*/ 977900 h 1298575"/>
                <a:gd name="connsiteX24" fmla="*/ 6350 w 1270000"/>
                <a:gd name="connsiteY24" fmla="*/ 952500 h 1298575"/>
                <a:gd name="connsiteX25" fmla="*/ 32544 w 1270000"/>
                <a:gd name="connsiteY25" fmla="*/ 927100 h 1298575"/>
                <a:gd name="connsiteX26" fmla="*/ 1160462 w 1270000"/>
                <a:gd name="connsiteY26" fmla="*/ 884237 h 1298575"/>
                <a:gd name="connsiteX27" fmla="*/ 1185862 w 1270000"/>
                <a:gd name="connsiteY27" fmla="*/ 909637 h 1298575"/>
                <a:gd name="connsiteX28" fmla="*/ 1160462 w 1270000"/>
                <a:gd name="connsiteY28" fmla="*/ 935037 h 1298575"/>
                <a:gd name="connsiteX29" fmla="*/ 1135062 w 1270000"/>
                <a:gd name="connsiteY29" fmla="*/ 909637 h 1298575"/>
                <a:gd name="connsiteX30" fmla="*/ 1160462 w 1270000"/>
                <a:gd name="connsiteY30" fmla="*/ 884237 h 1298575"/>
                <a:gd name="connsiteX31" fmla="*/ 109537 w 1270000"/>
                <a:gd name="connsiteY31" fmla="*/ 884237 h 1298575"/>
                <a:gd name="connsiteX32" fmla="*/ 134937 w 1270000"/>
                <a:gd name="connsiteY32" fmla="*/ 909637 h 1298575"/>
                <a:gd name="connsiteX33" fmla="*/ 109537 w 1270000"/>
                <a:gd name="connsiteY33" fmla="*/ 935037 h 1298575"/>
                <a:gd name="connsiteX34" fmla="*/ 84137 w 1270000"/>
                <a:gd name="connsiteY34" fmla="*/ 909637 h 1298575"/>
                <a:gd name="connsiteX35" fmla="*/ 109537 w 1270000"/>
                <a:gd name="connsiteY35" fmla="*/ 884237 h 1298575"/>
                <a:gd name="connsiteX36" fmla="*/ 925528 w 1270000"/>
                <a:gd name="connsiteY36" fmla="*/ 843383 h 1298575"/>
                <a:gd name="connsiteX37" fmla="*/ 986697 w 1270000"/>
                <a:gd name="connsiteY37" fmla="*/ 851580 h 1298575"/>
                <a:gd name="connsiteX38" fmla="*/ 1103313 w 1270000"/>
                <a:gd name="connsiteY38" fmla="*/ 988429 h 1298575"/>
                <a:gd name="connsiteX39" fmla="*/ 925170 w 1270000"/>
                <a:gd name="connsiteY39" fmla="*/ 1015513 h 1298575"/>
                <a:gd name="connsiteX40" fmla="*/ 835025 w 1270000"/>
                <a:gd name="connsiteY40" fmla="*/ 934972 h 1298575"/>
                <a:gd name="connsiteX41" fmla="*/ 932324 w 1270000"/>
                <a:gd name="connsiteY41" fmla="*/ 967046 h 1298575"/>
                <a:gd name="connsiteX42" fmla="*/ 944487 w 1270000"/>
                <a:gd name="connsiteY42" fmla="*/ 968472 h 1298575"/>
                <a:gd name="connsiteX43" fmla="*/ 981689 w 1270000"/>
                <a:gd name="connsiteY43" fmla="*/ 942812 h 1298575"/>
                <a:gd name="connsiteX44" fmla="*/ 983120 w 1270000"/>
                <a:gd name="connsiteY44" fmla="*/ 940674 h 1298575"/>
                <a:gd name="connsiteX45" fmla="*/ 983836 w 1270000"/>
                <a:gd name="connsiteY45" fmla="*/ 937823 h 1298575"/>
                <a:gd name="connsiteX46" fmla="*/ 960942 w 1270000"/>
                <a:gd name="connsiteY46" fmla="*/ 892920 h 1298575"/>
                <a:gd name="connsiteX47" fmla="*/ 868651 w 1270000"/>
                <a:gd name="connsiteY47" fmla="*/ 854431 h 1298575"/>
                <a:gd name="connsiteX48" fmla="*/ 925528 w 1270000"/>
                <a:gd name="connsiteY48" fmla="*/ 843383 h 1298575"/>
                <a:gd name="connsiteX49" fmla="*/ 351885 w 1270000"/>
                <a:gd name="connsiteY49" fmla="*/ 843383 h 1298575"/>
                <a:gd name="connsiteX50" fmla="*/ 408542 w 1270000"/>
                <a:gd name="connsiteY50" fmla="*/ 854431 h 1298575"/>
                <a:gd name="connsiteX51" fmla="*/ 314470 w 1270000"/>
                <a:gd name="connsiteY51" fmla="*/ 892920 h 1298575"/>
                <a:gd name="connsiteX52" fmla="*/ 313044 w 1270000"/>
                <a:gd name="connsiteY52" fmla="*/ 894345 h 1298575"/>
                <a:gd name="connsiteX53" fmla="*/ 293090 w 1270000"/>
                <a:gd name="connsiteY53" fmla="*/ 937823 h 1298575"/>
                <a:gd name="connsiteX54" fmla="*/ 293802 w 1270000"/>
                <a:gd name="connsiteY54" fmla="*/ 940674 h 1298575"/>
                <a:gd name="connsiteX55" fmla="*/ 294515 w 1270000"/>
                <a:gd name="connsiteY55" fmla="*/ 942812 h 1298575"/>
                <a:gd name="connsiteX56" fmla="*/ 332286 w 1270000"/>
                <a:gd name="connsiteY56" fmla="*/ 968472 h 1298575"/>
                <a:gd name="connsiteX57" fmla="*/ 344402 w 1270000"/>
                <a:gd name="connsiteY57" fmla="*/ 967046 h 1298575"/>
                <a:gd name="connsiteX58" fmla="*/ 441325 w 1270000"/>
                <a:gd name="connsiteY58" fmla="*/ 934972 h 1298575"/>
                <a:gd name="connsiteX59" fmla="*/ 352954 w 1270000"/>
                <a:gd name="connsiteY59" fmla="*/ 1015513 h 1298575"/>
                <a:gd name="connsiteX60" fmla="*/ 176212 w 1270000"/>
                <a:gd name="connsiteY60" fmla="*/ 988429 h 1298575"/>
                <a:gd name="connsiteX61" fmla="*/ 290952 w 1270000"/>
                <a:gd name="connsiteY61" fmla="*/ 851580 h 1298575"/>
                <a:gd name="connsiteX62" fmla="*/ 351885 w 1270000"/>
                <a:gd name="connsiteY62" fmla="*/ 843383 h 1298575"/>
                <a:gd name="connsiteX63" fmla="*/ 1245306 w 1270000"/>
                <a:gd name="connsiteY63" fmla="*/ 830262 h 1298575"/>
                <a:gd name="connsiteX64" fmla="*/ 1270000 w 1270000"/>
                <a:gd name="connsiteY64" fmla="*/ 855662 h 1298575"/>
                <a:gd name="connsiteX65" fmla="*/ 1245306 w 1270000"/>
                <a:gd name="connsiteY65" fmla="*/ 881062 h 1298575"/>
                <a:gd name="connsiteX66" fmla="*/ 1219200 w 1270000"/>
                <a:gd name="connsiteY66" fmla="*/ 855662 h 1298575"/>
                <a:gd name="connsiteX67" fmla="*/ 1245306 w 1270000"/>
                <a:gd name="connsiteY67" fmla="*/ 830262 h 1298575"/>
                <a:gd name="connsiteX68" fmla="*/ 24694 w 1270000"/>
                <a:gd name="connsiteY68" fmla="*/ 830262 h 1298575"/>
                <a:gd name="connsiteX69" fmla="*/ 50800 w 1270000"/>
                <a:gd name="connsiteY69" fmla="*/ 855662 h 1298575"/>
                <a:gd name="connsiteX70" fmla="*/ 24694 w 1270000"/>
                <a:gd name="connsiteY70" fmla="*/ 881062 h 1298575"/>
                <a:gd name="connsiteX71" fmla="*/ 0 w 1270000"/>
                <a:gd name="connsiteY71" fmla="*/ 855662 h 1298575"/>
                <a:gd name="connsiteX72" fmla="*/ 24694 w 1270000"/>
                <a:gd name="connsiteY72" fmla="*/ 830262 h 1298575"/>
                <a:gd name="connsiteX73" fmla="*/ 1121998 w 1270000"/>
                <a:gd name="connsiteY73" fmla="*/ 670836 h 1298575"/>
                <a:gd name="connsiteX74" fmla="*/ 1152891 w 1270000"/>
                <a:gd name="connsiteY74" fmla="*/ 671739 h 1298575"/>
                <a:gd name="connsiteX75" fmla="*/ 1265238 w 1270000"/>
                <a:gd name="connsiteY75" fmla="*/ 715072 h 1298575"/>
                <a:gd name="connsiteX76" fmla="*/ 1142055 w 1270000"/>
                <a:gd name="connsiteY76" fmla="*/ 845607 h 1298575"/>
                <a:gd name="connsiteX77" fmla="*/ 988254 w 1270000"/>
                <a:gd name="connsiteY77" fmla="*/ 814935 h 1298575"/>
                <a:gd name="connsiteX78" fmla="*/ 1123542 w 1270000"/>
                <a:gd name="connsiteY78" fmla="*/ 750024 h 1298575"/>
                <a:gd name="connsiteX79" fmla="*/ 974725 w 1270000"/>
                <a:gd name="connsiteY79" fmla="*/ 784976 h 1298575"/>
                <a:gd name="connsiteX80" fmla="*/ 1090788 w 1270000"/>
                <a:gd name="connsiteY80" fmla="*/ 676554 h 1298575"/>
                <a:gd name="connsiteX81" fmla="*/ 1121998 w 1270000"/>
                <a:gd name="connsiteY81" fmla="*/ 670836 h 1298575"/>
                <a:gd name="connsiteX82" fmla="*/ 148637 w 1270000"/>
                <a:gd name="connsiteY82" fmla="*/ 670836 h 1298575"/>
                <a:gd name="connsiteX83" fmla="*/ 179736 w 1270000"/>
                <a:gd name="connsiteY83" fmla="*/ 676554 h 1298575"/>
                <a:gd name="connsiteX84" fmla="*/ 296862 w 1270000"/>
                <a:gd name="connsiteY84" fmla="*/ 784976 h 1298575"/>
                <a:gd name="connsiteX85" fmla="*/ 146170 w 1270000"/>
                <a:gd name="connsiteY85" fmla="*/ 750024 h 1298575"/>
                <a:gd name="connsiteX86" fmla="*/ 283292 w 1270000"/>
                <a:gd name="connsiteY86" fmla="*/ 814935 h 1298575"/>
                <a:gd name="connsiteX87" fmla="*/ 129029 w 1270000"/>
                <a:gd name="connsiteY87" fmla="*/ 845607 h 1298575"/>
                <a:gd name="connsiteX88" fmla="*/ 4762 w 1270000"/>
                <a:gd name="connsiteY88" fmla="*/ 715072 h 1298575"/>
                <a:gd name="connsiteX89" fmla="*/ 148637 w 1270000"/>
                <a:gd name="connsiteY89" fmla="*/ 670836 h 1298575"/>
                <a:gd name="connsiteX90" fmla="*/ 1240543 w 1270000"/>
                <a:gd name="connsiteY90" fmla="*/ 608012 h 1298575"/>
                <a:gd name="connsiteX91" fmla="*/ 1265237 w 1270000"/>
                <a:gd name="connsiteY91" fmla="*/ 633412 h 1298575"/>
                <a:gd name="connsiteX92" fmla="*/ 1240543 w 1270000"/>
                <a:gd name="connsiteY92" fmla="*/ 658812 h 1298575"/>
                <a:gd name="connsiteX93" fmla="*/ 1214437 w 1270000"/>
                <a:gd name="connsiteY93" fmla="*/ 633412 h 1298575"/>
                <a:gd name="connsiteX94" fmla="*/ 1240543 w 1270000"/>
                <a:gd name="connsiteY94" fmla="*/ 608012 h 1298575"/>
                <a:gd name="connsiteX95" fmla="*/ 29456 w 1270000"/>
                <a:gd name="connsiteY95" fmla="*/ 608012 h 1298575"/>
                <a:gd name="connsiteX96" fmla="*/ 55562 w 1270000"/>
                <a:gd name="connsiteY96" fmla="*/ 633412 h 1298575"/>
                <a:gd name="connsiteX97" fmla="*/ 29456 w 1270000"/>
                <a:gd name="connsiteY97" fmla="*/ 658812 h 1298575"/>
                <a:gd name="connsiteX98" fmla="*/ 4762 w 1270000"/>
                <a:gd name="connsiteY98" fmla="*/ 633412 h 1298575"/>
                <a:gd name="connsiteX99" fmla="*/ 29456 w 1270000"/>
                <a:gd name="connsiteY99" fmla="*/ 608012 h 1298575"/>
                <a:gd name="connsiteX100" fmla="*/ 1215593 w 1270000"/>
                <a:gd name="connsiteY100" fmla="*/ 470615 h 1298575"/>
                <a:gd name="connsiteX101" fmla="*/ 1194835 w 1270000"/>
                <a:gd name="connsiteY101" fmla="*/ 592117 h 1298575"/>
                <a:gd name="connsiteX102" fmla="*/ 1095340 w 1270000"/>
                <a:gd name="connsiteY102" fmla="*/ 635000 h 1298575"/>
                <a:gd name="connsiteX103" fmla="*/ 1147593 w 1270000"/>
                <a:gd name="connsiteY103" fmla="*/ 544945 h 1298575"/>
                <a:gd name="connsiteX104" fmla="*/ 1075298 w 1270000"/>
                <a:gd name="connsiteY104" fmla="*/ 623564 h 1298575"/>
                <a:gd name="connsiteX105" fmla="*/ 1100350 w 1270000"/>
                <a:gd name="connsiteY105" fmla="*/ 516357 h 1298575"/>
                <a:gd name="connsiteX106" fmla="*/ 1215593 w 1270000"/>
                <a:gd name="connsiteY106" fmla="*/ 470615 h 1298575"/>
                <a:gd name="connsiteX107" fmla="*/ 46434 w 1270000"/>
                <a:gd name="connsiteY107" fmla="*/ 470615 h 1298575"/>
                <a:gd name="connsiteX108" fmla="*/ 159306 w 1270000"/>
                <a:gd name="connsiteY108" fmla="*/ 516357 h 1298575"/>
                <a:gd name="connsiteX109" fmla="*/ 184309 w 1270000"/>
                <a:gd name="connsiteY109" fmla="*/ 623564 h 1298575"/>
                <a:gd name="connsiteX110" fmla="*/ 112871 w 1270000"/>
                <a:gd name="connsiteY110" fmla="*/ 544945 h 1298575"/>
                <a:gd name="connsiteX111" fmla="*/ 164306 w 1270000"/>
                <a:gd name="connsiteY111" fmla="*/ 635000 h 1298575"/>
                <a:gd name="connsiteX112" fmla="*/ 65722 w 1270000"/>
                <a:gd name="connsiteY112" fmla="*/ 592117 h 1298575"/>
                <a:gd name="connsiteX113" fmla="*/ 46434 w 1270000"/>
                <a:gd name="connsiteY113" fmla="*/ 470615 h 1298575"/>
                <a:gd name="connsiteX114" fmla="*/ 1017878 w 1270000"/>
                <a:gd name="connsiteY114" fmla="*/ 452437 h 1298575"/>
                <a:gd name="connsiteX115" fmla="*/ 990658 w 1270000"/>
                <a:gd name="connsiteY115" fmla="*/ 682136 h 1298575"/>
                <a:gd name="connsiteX116" fmla="*/ 848112 w 1270000"/>
                <a:gd name="connsiteY116" fmla="*/ 766762 h 1298575"/>
                <a:gd name="connsiteX117" fmla="*/ 923325 w 1270000"/>
                <a:gd name="connsiteY117" fmla="*/ 655824 h 1298575"/>
                <a:gd name="connsiteX118" fmla="*/ 930488 w 1270000"/>
                <a:gd name="connsiteY118" fmla="*/ 623111 h 1298575"/>
                <a:gd name="connsiteX119" fmla="*/ 911148 w 1270000"/>
                <a:gd name="connsiteY119" fmla="*/ 594665 h 1298575"/>
                <a:gd name="connsiteX120" fmla="*/ 886077 w 1270000"/>
                <a:gd name="connsiteY120" fmla="*/ 586843 h 1298575"/>
                <a:gd name="connsiteX121" fmla="*/ 851694 w 1270000"/>
                <a:gd name="connsiteY121" fmla="*/ 603910 h 1298575"/>
                <a:gd name="connsiteX122" fmla="*/ 766452 w 1270000"/>
                <a:gd name="connsiteY122" fmla="*/ 709870 h 1298575"/>
                <a:gd name="connsiteX123" fmla="*/ 804417 w 1270000"/>
                <a:gd name="connsiteY123" fmla="*/ 547730 h 1298575"/>
                <a:gd name="connsiteX124" fmla="*/ 1017878 w 1270000"/>
                <a:gd name="connsiteY124" fmla="*/ 452437 h 1298575"/>
                <a:gd name="connsiteX125" fmla="*/ 253592 w 1270000"/>
                <a:gd name="connsiteY125" fmla="*/ 452437 h 1298575"/>
                <a:gd name="connsiteX126" fmla="*/ 465703 w 1270000"/>
                <a:gd name="connsiteY126" fmla="*/ 547946 h 1298575"/>
                <a:gd name="connsiteX127" fmla="*/ 503555 w 1270000"/>
                <a:gd name="connsiteY127" fmla="*/ 711880 h 1298575"/>
                <a:gd name="connsiteX128" fmla="*/ 417853 w 1270000"/>
                <a:gd name="connsiteY128" fmla="*/ 604254 h 1298575"/>
                <a:gd name="connsiteX129" fmla="*/ 382858 w 1270000"/>
                <a:gd name="connsiteY129" fmla="*/ 587148 h 1298575"/>
                <a:gd name="connsiteX130" fmla="*/ 358576 w 1270000"/>
                <a:gd name="connsiteY130" fmla="*/ 594988 h 1298575"/>
                <a:gd name="connsiteX131" fmla="*/ 338579 w 1270000"/>
                <a:gd name="connsiteY131" fmla="*/ 623498 h 1298575"/>
                <a:gd name="connsiteX132" fmla="*/ 345721 w 1270000"/>
                <a:gd name="connsiteY132" fmla="*/ 656285 h 1298575"/>
                <a:gd name="connsiteX133" fmla="*/ 419996 w 1270000"/>
                <a:gd name="connsiteY133" fmla="*/ 766762 h 1298575"/>
                <a:gd name="connsiteX134" fmla="*/ 280731 w 1270000"/>
                <a:gd name="connsiteY134" fmla="*/ 682657 h 1298575"/>
                <a:gd name="connsiteX135" fmla="*/ 253592 w 1270000"/>
                <a:gd name="connsiteY135" fmla="*/ 452437 h 1298575"/>
                <a:gd name="connsiteX136" fmla="*/ 1122720 w 1270000"/>
                <a:gd name="connsiteY136" fmla="*/ 379412 h 1298575"/>
                <a:gd name="connsiteX137" fmla="*/ 1147762 w 1270000"/>
                <a:gd name="connsiteY137" fmla="*/ 404812 h 1298575"/>
                <a:gd name="connsiteX138" fmla="*/ 1122720 w 1270000"/>
                <a:gd name="connsiteY138" fmla="*/ 430212 h 1298575"/>
                <a:gd name="connsiteX139" fmla="*/ 1096962 w 1270000"/>
                <a:gd name="connsiteY139" fmla="*/ 404812 h 1298575"/>
                <a:gd name="connsiteX140" fmla="*/ 1122720 w 1270000"/>
                <a:gd name="connsiteY140" fmla="*/ 379412 h 1298575"/>
                <a:gd name="connsiteX141" fmla="*/ 147279 w 1270000"/>
                <a:gd name="connsiteY141" fmla="*/ 379412 h 1298575"/>
                <a:gd name="connsiteX142" fmla="*/ 173037 w 1270000"/>
                <a:gd name="connsiteY142" fmla="*/ 404812 h 1298575"/>
                <a:gd name="connsiteX143" fmla="*/ 147279 w 1270000"/>
                <a:gd name="connsiteY143" fmla="*/ 430212 h 1298575"/>
                <a:gd name="connsiteX144" fmla="*/ 122237 w 1270000"/>
                <a:gd name="connsiteY144" fmla="*/ 404812 h 1298575"/>
                <a:gd name="connsiteX145" fmla="*/ 147279 w 1270000"/>
                <a:gd name="connsiteY145" fmla="*/ 379412 h 1298575"/>
                <a:gd name="connsiteX146" fmla="*/ 1178719 w 1270000"/>
                <a:gd name="connsiteY146" fmla="*/ 322262 h 1298575"/>
                <a:gd name="connsiteX147" fmla="*/ 1204913 w 1270000"/>
                <a:gd name="connsiteY147" fmla="*/ 348456 h 1298575"/>
                <a:gd name="connsiteX148" fmla="*/ 1178719 w 1270000"/>
                <a:gd name="connsiteY148" fmla="*/ 374650 h 1298575"/>
                <a:gd name="connsiteX149" fmla="*/ 1152525 w 1270000"/>
                <a:gd name="connsiteY149" fmla="*/ 348456 h 1298575"/>
                <a:gd name="connsiteX150" fmla="*/ 1178719 w 1270000"/>
                <a:gd name="connsiteY150" fmla="*/ 322262 h 1298575"/>
                <a:gd name="connsiteX151" fmla="*/ 91281 w 1270000"/>
                <a:gd name="connsiteY151" fmla="*/ 322262 h 1298575"/>
                <a:gd name="connsiteX152" fmla="*/ 117475 w 1270000"/>
                <a:gd name="connsiteY152" fmla="*/ 348456 h 1298575"/>
                <a:gd name="connsiteX153" fmla="*/ 91281 w 1270000"/>
                <a:gd name="connsiteY153" fmla="*/ 374650 h 1298575"/>
                <a:gd name="connsiteX154" fmla="*/ 65087 w 1270000"/>
                <a:gd name="connsiteY154" fmla="*/ 348456 h 1298575"/>
                <a:gd name="connsiteX155" fmla="*/ 91281 w 1270000"/>
                <a:gd name="connsiteY155" fmla="*/ 322262 h 1298575"/>
                <a:gd name="connsiteX156" fmla="*/ 358110 w 1270000"/>
                <a:gd name="connsiteY156" fmla="*/ 306784 h 1298575"/>
                <a:gd name="connsiteX157" fmla="*/ 369530 w 1270000"/>
                <a:gd name="connsiteY157" fmla="*/ 307499 h 1298575"/>
                <a:gd name="connsiteX158" fmla="*/ 610776 w 1270000"/>
                <a:gd name="connsiteY158" fmla="*/ 610449 h 1298575"/>
                <a:gd name="connsiteX159" fmla="*/ 620054 w 1270000"/>
                <a:gd name="connsiteY159" fmla="*/ 366088 h 1298575"/>
                <a:gd name="connsiteX160" fmla="*/ 633616 w 1270000"/>
                <a:gd name="connsiteY160" fmla="*/ 353227 h 1298575"/>
                <a:gd name="connsiteX161" fmla="*/ 646463 w 1270000"/>
                <a:gd name="connsiteY161" fmla="*/ 366088 h 1298575"/>
                <a:gd name="connsiteX162" fmla="*/ 656456 w 1270000"/>
                <a:gd name="connsiteY162" fmla="*/ 611878 h 1298575"/>
                <a:gd name="connsiteX163" fmla="*/ 898416 w 1270000"/>
                <a:gd name="connsiteY163" fmla="*/ 307499 h 1298575"/>
                <a:gd name="connsiteX164" fmla="*/ 909836 w 1270000"/>
                <a:gd name="connsiteY164" fmla="*/ 306784 h 1298575"/>
                <a:gd name="connsiteX165" fmla="*/ 911263 w 1270000"/>
                <a:gd name="connsiteY165" fmla="*/ 317502 h 1298575"/>
                <a:gd name="connsiteX166" fmla="*/ 659311 w 1270000"/>
                <a:gd name="connsiteY166" fmla="*/ 690474 h 1298575"/>
                <a:gd name="connsiteX167" fmla="*/ 667162 w 1270000"/>
                <a:gd name="connsiteY167" fmla="*/ 887677 h 1298575"/>
                <a:gd name="connsiteX168" fmla="*/ 876290 w 1270000"/>
                <a:gd name="connsiteY168" fmla="*/ 623310 h 1298575"/>
                <a:gd name="connsiteX169" fmla="*/ 893420 w 1270000"/>
                <a:gd name="connsiteY169" fmla="*/ 621167 h 1298575"/>
                <a:gd name="connsiteX170" fmla="*/ 897702 w 1270000"/>
                <a:gd name="connsiteY170" fmla="*/ 638315 h 1298575"/>
                <a:gd name="connsiteX171" fmla="*/ 760663 w 1270000"/>
                <a:gd name="connsiteY171" fmla="*/ 842663 h 1298575"/>
                <a:gd name="connsiteX172" fmla="*/ 948378 w 1270000"/>
                <a:gd name="connsiteY172" fmla="*/ 921973 h 1298575"/>
                <a:gd name="connsiteX173" fmla="*/ 953374 w 1270000"/>
                <a:gd name="connsiteY173" fmla="*/ 931976 h 1298575"/>
                <a:gd name="connsiteX174" fmla="*/ 942668 w 1270000"/>
                <a:gd name="connsiteY174" fmla="*/ 937692 h 1298575"/>
                <a:gd name="connsiteX175" fmla="*/ 741392 w 1270000"/>
                <a:gd name="connsiteY175" fmla="*/ 871243 h 1298575"/>
                <a:gd name="connsiteX176" fmla="*/ 670730 w 1270000"/>
                <a:gd name="connsiteY176" fmla="*/ 976275 h 1298575"/>
                <a:gd name="connsiteX177" fmla="*/ 677154 w 1270000"/>
                <a:gd name="connsiteY177" fmla="*/ 1130609 h 1298575"/>
                <a:gd name="connsiteX178" fmla="*/ 635043 w 1270000"/>
                <a:gd name="connsiteY178" fmla="*/ 1176337 h 1298575"/>
                <a:gd name="connsiteX179" fmla="*/ 590077 w 1270000"/>
                <a:gd name="connsiteY179" fmla="*/ 1134181 h 1298575"/>
                <a:gd name="connsiteX180" fmla="*/ 590077 w 1270000"/>
                <a:gd name="connsiteY180" fmla="*/ 1130609 h 1298575"/>
                <a:gd name="connsiteX181" fmla="*/ 592218 w 1270000"/>
                <a:gd name="connsiteY181" fmla="*/ 1093455 h 1298575"/>
                <a:gd name="connsiteX182" fmla="*/ 596501 w 1270000"/>
                <a:gd name="connsiteY182" fmla="*/ 971988 h 1298575"/>
                <a:gd name="connsiteX183" fmla="*/ 530122 w 1270000"/>
                <a:gd name="connsiteY183" fmla="*/ 873387 h 1298575"/>
                <a:gd name="connsiteX184" fmla="*/ 335270 w 1270000"/>
                <a:gd name="connsiteY184" fmla="*/ 937692 h 1298575"/>
                <a:gd name="connsiteX185" fmla="*/ 324563 w 1270000"/>
                <a:gd name="connsiteY185" fmla="*/ 931976 h 1298575"/>
                <a:gd name="connsiteX186" fmla="*/ 329560 w 1270000"/>
                <a:gd name="connsiteY186" fmla="*/ 921973 h 1298575"/>
                <a:gd name="connsiteX187" fmla="*/ 511565 w 1270000"/>
                <a:gd name="connsiteY187" fmla="*/ 846236 h 1298575"/>
                <a:gd name="connsiteX188" fmla="*/ 372385 w 1270000"/>
                <a:gd name="connsiteY188" fmla="*/ 638315 h 1298575"/>
                <a:gd name="connsiteX189" fmla="*/ 376667 w 1270000"/>
                <a:gd name="connsiteY189" fmla="*/ 621167 h 1298575"/>
                <a:gd name="connsiteX190" fmla="*/ 393797 w 1270000"/>
                <a:gd name="connsiteY190" fmla="*/ 623310 h 1298575"/>
                <a:gd name="connsiteX191" fmla="*/ 600070 w 1270000"/>
                <a:gd name="connsiteY191" fmla="*/ 883390 h 1298575"/>
                <a:gd name="connsiteX192" fmla="*/ 607207 w 1270000"/>
                <a:gd name="connsiteY192" fmla="*/ 689045 h 1298575"/>
                <a:gd name="connsiteX193" fmla="*/ 356682 w 1270000"/>
                <a:gd name="connsiteY193" fmla="*/ 317502 h 1298575"/>
                <a:gd name="connsiteX194" fmla="*/ 358110 w 1270000"/>
                <a:gd name="connsiteY194" fmla="*/ 306784 h 1298575"/>
                <a:gd name="connsiteX195" fmla="*/ 1085850 w 1270000"/>
                <a:gd name="connsiteY195" fmla="*/ 296862 h 1298575"/>
                <a:gd name="connsiteX196" fmla="*/ 1111250 w 1270000"/>
                <a:gd name="connsiteY196" fmla="*/ 322262 h 1298575"/>
                <a:gd name="connsiteX197" fmla="*/ 1085850 w 1270000"/>
                <a:gd name="connsiteY197" fmla="*/ 347662 h 1298575"/>
                <a:gd name="connsiteX198" fmla="*/ 1060450 w 1270000"/>
                <a:gd name="connsiteY198" fmla="*/ 322262 h 1298575"/>
                <a:gd name="connsiteX199" fmla="*/ 1085850 w 1270000"/>
                <a:gd name="connsiteY199" fmla="*/ 296862 h 1298575"/>
                <a:gd name="connsiteX200" fmla="*/ 184150 w 1270000"/>
                <a:gd name="connsiteY200" fmla="*/ 296862 h 1298575"/>
                <a:gd name="connsiteX201" fmla="*/ 209550 w 1270000"/>
                <a:gd name="connsiteY201" fmla="*/ 322262 h 1298575"/>
                <a:gd name="connsiteX202" fmla="*/ 184150 w 1270000"/>
                <a:gd name="connsiteY202" fmla="*/ 347662 h 1298575"/>
                <a:gd name="connsiteX203" fmla="*/ 158750 w 1270000"/>
                <a:gd name="connsiteY203" fmla="*/ 322262 h 1298575"/>
                <a:gd name="connsiteX204" fmla="*/ 184150 w 1270000"/>
                <a:gd name="connsiteY204" fmla="*/ 296862 h 1298575"/>
                <a:gd name="connsiteX205" fmla="*/ 1135062 w 1270000"/>
                <a:gd name="connsiteY205" fmla="*/ 241300 h 1298575"/>
                <a:gd name="connsiteX206" fmla="*/ 1160462 w 1270000"/>
                <a:gd name="connsiteY206" fmla="*/ 266700 h 1298575"/>
                <a:gd name="connsiteX207" fmla="*/ 1135062 w 1270000"/>
                <a:gd name="connsiteY207" fmla="*/ 292100 h 1298575"/>
                <a:gd name="connsiteX208" fmla="*/ 1109662 w 1270000"/>
                <a:gd name="connsiteY208" fmla="*/ 266700 h 1298575"/>
                <a:gd name="connsiteX209" fmla="*/ 1135062 w 1270000"/>
                <a:gd name="connsiteY209" fmla="*/ 241300 h 1298575"/>
                <a:gd name="connsiteX210" fmla="*/ 134937 w 1270000"/>
                <a:gd name="connsiteY210" fmla="*/ 241300 h 1298575"/>
                <a:gd name="connsiteX211" fmla="*/ 160337 w 1270000"/>
                <a:gd name="connsiteY211" fmla="*/ 266700 h 1298575"/>
                <a:gd name="connsiteX212" fmla="*/ 134937 w 1270000"/>
                <a:gd name="connsiteY212" fmla="*/ 292100 h 1298575"/>
                <a:gd name="connsiteX213" fmla="*/ 109537 w 1270000"/>
                <a:gd name="connsiteY213" fmla="*/ 266700 h 1298575"/>
                <a:gd name="connsiteX214" fmla="*/ 134937 w 1270000"/>
                <a:gd name="connsiteY214" fmla="*/ 241300 h 1298575"/>
                <a:gd name="connsiteX215" fmla="*/ 1005616 w 1270000"/>
                <a:gd name="connsiteY215" fmla="*/ 179387 h 1298575"/>
                <a:gd name="connsiteX216" fmla="*/ 983360 w 1270000"/>
                <a:gd name="connsiteY216" fmla="*/ 356318 h 1298575"/>
                <a:gd name="connsiteX217" fmla="*/ 880699 w 1270000"/>
                <a:gd name="connsiteY217" fmla="*/ 419100 h 1298575"/>
                <a:gd name="connsiteX218" fmla="*/ 938132 w 1270000"/>
                <a:gd name="connsiteY218" fmla="*/ 334915 h 1298575"/>
                <a:gd name="connsiteX219" fmla="*/ 938850 w 1270000"/>
                <a:gd name="connsiteY219" fmla="*/ 334202 h 1298575"/>
                <a:gd name="connsiteX220" fmla="*/ 930953 w 1270000"/>
                <a:gd name="connsiteY220" fmla="*/ 282834 h 1298575"/>
                <a:gd name="connsiteX221" fmla="*/ 905108 w 1270000"/>
                <a:gd name="connsiteY221" fmla="*/ 273560 h 1298575"/>
                <a:gd name="connsiteX222" fmla="*/ 874238 w 1270000"/>
                <a:gd name="connsiteY222" fmla="*/ 288542 h 1298575"/>
                <a:gd name="connsiteX223" fmla="*/ 810343 w 1270000"/>
                <a:gd name="connsiteY223" fmla="*/ 367733 h 1298575"/>
                <a:gd name="connsiteX224" fmla="*/ 840496 w 1270000"/>
                <a:gd name="connsiteY224" fmla="*/ 252157 h 1298575"/>
                <a:gd name="connsiteX225" fmla="*/ 1005616 w 1270000"/>
                <a:gd name="connsiteY225" fmla="*/ 179387 h 1298575"/>
                <a:gd name="connsiteX226" fmla="*/ 263302 w 1270000"/>
                <a:gd name="connsiteY226" fmla="*/ 179387 h 1298575"/>
                <a:gd name="connsiteX227" fmla="*/ 426547 w 1270000"/>
                <a:gd name="connsiteY227" fmla="*/ 252157 h 1298575"/>
                <a:gd name="connsiteX228" fmla="*/ 456487 w 1270000"/>
                <a:gd name="connsiteY228" fmla="*/ 367019 h 1298575"/>
                <a:gd name="connsiteX229" fmla="*/ 393755 w 1270000"/>
                <a:gd name="connsiteY229" fmla="*/ 288542 h 1298575"/>
                <a:gd name="connsiteX230" fmla="*/ 363102 w 1270000"/>
                <a:gd name="connsiteY230" fmla="*/ 273560 h 1298575"/>
                <a:gd name="connsiteX231" fmla="*/ 337439 w 1270000"/>
                <a:gd name="connsiteY231" fmla="*/ 282834 h 1298575"/>
                <a:gd name="connsiteX232" fmla="*/ 329598 w 1270000"/>
                <a:gd name="connsiteY232" fmla="*/ 334202 h 1298575"/>
                <a:gd name="connsiteX233" fmla="*/ 329598 w 1270000"/>
                <a:gd name="connsiteY233" fmla="*/ 334915 h 1298575"/>
                <a:gd name="connsiteX234" fmla="*/ 386627 w 1270000"/>
                <a:gd name="connsiteY234" fmla="*/ 419100 h 1298575"/>
                <a:gd name="connsiteX235" fmla="*/ 285401 w 1270000"/>
                <a:gd name="connsiteY235" fmla="*/ 356318 h 1298575"/>
                <a:gd name="connsiteX236" fmla="*/ 263302 w 1270000"/>
                <a:gd name="connsiteY236" fmla="*/ 179387 h 1298575"/>
                <a:gd name="connsiteX237" fmla="*/ 633056 w 1270000"/>
                <a:gd name="connsiteY237" fmla="*/ 117475 h 1298575"/>
                <a:gd name="connsiteX238" fmla="*/ 755650 w 1270000"/>
                <a:gd name="connsiteY238" fmla="*/ 333349 h 1298575"/>
                <a:gd name="connsiteX239" fmla="*/ 682949 w 1270000"/>
                <a:gd name="connsiteY239" fmla="*/ 500063 h 1298575"/>
                <a:gd name="connsiteX240" fmla="*/ 677247 w 1270000"/>
                <a:gd name="connsiteY240" fmla="*/ 363272 h 1298575"/>
                <a:gd name="connsiteX241" fmla="*/ 677247 w 1270000"/>
                <a:gd name="connsiteY241" fmla="*/ 361847 h 1298575"/>
                <a:gd name="connsiteX242" fmla="*/ 635194 w 1270000"/>
                <a:gd name="connsiteY242" fmla="*/ 321949 h 1298575"/>
                <a:gd name="connsiteX243" fmla="*/ 631630 w 1270000"/>
                <a:gd name="connsiteY243" fmla="*/ 321949 h 1298575"/>
                <a:gd name="connsiteX244" fmla="*/ 588865 w 1270000"/>
                <a:gd name="connsiteY244" fmla="*/ 363984 h 1298575"/>
                <a:gd name="connsiteX245" fmla="*/ 583163 w 1270000"/>
                <a:gd name="connsiteY245" fmla="*/ 499350 h 1298575"/>
                <a:gd name="connsiteX246" fmla="*/ 511175 w 1270000"/>
                <a:gd name="connsiteY246" fmla="*/ 333349 h 1298575"/>
                <a:gd name="connsiteX247" fmla="*/ 633056 w 1270000"/>
                <a:gd name="connsiteY247" fmla="*/ 117475 h 1298575"/>
                <a:gd name="connsiteX248" fmla="*/ 934156 w 1270000"/>
                <a:gd name="connsiteY248" fmla="*/ 109537 h 1298575"/>
                <a:gd name="connsiteX249" fmla="*/ 958850 w 1270000"/>
                <a:gd name="connsiteY249" fmla="*/ 134937 h 1298575"/>
                <a:gd name="connsiteX250" fmla="*/ 934156 w 1270000"/>
                <a:gd name="connsiteY250" fmla="*/ 160337 h 1298575"/>
                <a:gd name="connsiteX251" fmla="*/ 908050 w 1270000"/>
                <a:gd name="connsiteY251" fmla="*/ 134937 h 1298575"/>
                <a:gd name="connsiteX252" fmla="*/ 934156 w 1270000"/>
                <a:gd name="connsiteY252" fmla="*/ 109537 h 1298575"/>
                <a:gd name="connsiteX253" fmla="*/ 335844 w 1270000"/>
                <a:gd name="connsiteY253" fmla="*/ 109537 h 1298575"/>
                <a:gd name="connsiteX254" fmla="*/ 361950 w 1270000"/>
                <a:gd name="connsiteY254" fmla="*/ 134937 h 1298575"/>
                <a:gd name="connsiteX255" fmla="*/ 335844 w 1270000"/>
                <a:gd name="connsiteY255" fmla="*/ 160337 h 1298575"/>
                <a:gd name="connsiteX256" fmla="*/ 311150 w 1270000"/>
                <a:gd name="connsiteY256" fmla="*/ 134937 h 1298575"/>
                <a:gd name="connsiteX257" fmla="*/ 335844 w 1270000"/>
                <a:gd name="connsiteY257" fmla="*/ 109537 h 1298575"/>
                <a:gd name="connsiteX258" fmla="*/ 1006409 w 1270000"/>
                <a:gd name="connsiteY258" fmla="*/ 92075 h 1298575"/>
                <a:gd name="connsiteX259" fmla="*/ 1031875 w 1270000"/>
                <a:gd name="connsiteY259" fmla="*/ 117475 h 1298575"/>
                <a:gd name="connsiteX260" fmla="*/ 1006409 w 1270000"/>
                <a:gd name="connsiteY260" fmla="*/ 142875 h 1298575"/>
                <a:gd name="connsiteX261" fmla="*/ 979487 w 1270000"/>
                <a:gd name="connsiteY261" fmla="*/ 117475 h 1298575"/>
                <a:gd name="connsiteX262" fmla="*/ 1006409 w 1270000"/>
                <a:gd name="connsiteY262" fmla="*/ 92075 h 1298575"/>
                <a:gd name="connsiteX263" fmla="*/ 263591 w 1270000"/>
                <a:gd name="connsiteY263" fmla="*/ 92075 h 1298575"/>
                <a:gd name="connsiteX264" fmla="*/ 290513 w 1270000"/>
                <a:gd name="connsiteY264" fmla="*/ 117475 h 1298575"/>
                <a:gd name="connsiteX265" fmla="*/ 263591 w 1270000"/>
                <a:gd name="connsiteY265" fmla="*/ 142875 h 1298575"/>
                <a:gd name="connsiteX266" fmla="*/ 238125 w 1270000"/>
                <a:gd name="connsiteY266" fmla="*/ 117475 h 1298575"/>
                <a:gd name="connsiteX267" fmla="*/ 263591 w 1270000"/>
                <a:gd name="connsiteY267" fmla="*/ 92075 h 1298575"/>
                <a:gd name="connsiteX268" fmla="*/ 718256 w 1270000"/>
                <a:gd name="connsiteY268" fmla="*/ 77787 h 1298575"/>
                <a:gd name="connsiteX269" fmla="*/ 742950 w 1270000"/>
                <a:gd name="connsiteY269" fmla="*/ 103187 h 1298575"/>
                <a:gd name="connsiteX270" fmla="*/ 718256 w 1270000"/>
                <a:gd name="connsiteY270" fmla="*/ 128587 h 1298575"/>
                <a:gd name="connsiteX271" fmla="*/ 692150 w 1270000"/>
                <a:gd name="connsiteY271" fmla="*/ 103187 h 1298575"/>
                <a:gd name="connsiteX272" fmla="*/ 718256 w 1270000"/>
                <a:gd name="connsiteY272" fmla="*/ 77787 h 1298575"/>
                <a:gd name="connsiteX273" fmla="*/ 551744 w 1270000"/>
                <a:gd name="connsiteY273" fmla="*/ 77787 h 1298575"/>
                <a:gd name="connsiteX274" fmla="*/ 577850 w 1270000"/>
                <a:gd name="connsiteY274" fmla="*/ 103187 h 1298575"/>
                <a:gd name="connsiteX275" fmla="*/ 551744 w 1270000"/>
                <a:gd name="connsiteY275" fmla="*/ 128587 h 1298575"/>
                <a:gd name="connsiteX276" fmla="*/ 527050 w 1270000"/>
                <a:gd name="connsiteY276" fmla="*/ 103187 h 1298575"/>
                <a:gd name="connsiteX277" fmla="*/ 551744 w 1270000"/>
                <a:gd name="connsiteY277" fmla="*/ 77787 h 1298575"/>
                <a:gd name="connsiteX278" fmla="*/ 863307 w 1270000"/>
                <a:gd name="connsiteY278" fmla="*/ 31750 h 1298575"/>
                <a:gd name="connsiteX279" fmla="*/ 886241 w 1270000"/>
                <a:gd name="connsiteY279" fmla="*/ 153071 h 1298575"/>
                <a:gd name="connsiteX280" fmla="*/ 805972 w 1270000"/>
                <a:gd name="connsiteY280" fmla="*/ 227013 h 1298575"/>
                <a:gd name="connsiteX281" fmla="*/ 824606 w 1270000"/>
                <a:gd name="connsiteY281" fmla="*/ 124356 h 1298575"/>
                <a:gd name="connsiteX282" fmla="*/ 783755 w 1270000"/>
                <a:gd name="connsiteY282" fmla="*/ 222706 h 1298575"/>
                <a:gd name="connsiteX283" fmla="*/ 770138 w 1270000"/>
                <a:gd name="connsiteY283" fmla="*/ 113588 h 1298575"/>
                <a:gd name="connsiteX284" fmla="*/ 863307 w 1270000"/>
                <a:gd name="connsiteY284" fmla="*/ 31750 h 1298575"/>
                <a:gd name="connsiteX285" fmla="*/ 408126 w 1270000"/>
                <a:gd name="connsiteY285" fmla="*/ 31750 h 1298575"/>
                <a:gd name="connsiteX286" fmla="*/ 500579 w 1270000"/>
                <a:gd name="connsiteY286" fmla="*/ 113588 h 1298575"/>
                <a:gd name="connsiteX287" fmla="*/ 486962 w 1270000"/>
                <a:gd name="connsiteY287" fmla="*/ 222706 h 1298575"/>
                <a:gd name="connsiteX288" fmla="*/ 445394 w 1270000"/>
                <a:gd name="connsiteY288" fmla="*/ 124356 h 1298575"/>
                <a:gd name="connsiteX289" fmla="*/ 464028 w 1270000"/>
                <a:gd name="connsiteY289" fmla="*/ 227013 h 1298575"/>
                <a:gd name="connsiteX290" fmla="*/ 384475 w 1270000"/>
                <a:gd name="connsiteY290" fmla="*/ 153071 h 1298575"/>
                <a:gd name="connsiteX291" fmla="*/ 408126 w 1270000"/>
                <a:gd name="connsiteY291" fmla="*/ 31750 h 1298575"/>
                <a:gd name="connsiteX292" fmla="*/ 685800 w 1270000"/>
                <a:gd name="connsiteY292" fmla="*/ 12700 h 1298575"/>
                <a:gd name="connsiteX293" fmla="*/ 711200 w 1270000"/>
                <a:gd name="connsiteY293" fmla="*/ 38100 h 1298575"/>
                <a:gd name="connsiteX294" fmla="*/ 685800 w 1270000"/>
                <a:gd name="connsiteY294" fmla="*/ 63500 h 1298575"/>
                <a:gd name="connsiteX295" fmla="*/ 660400 w 1270000"/>
                <a:gd name="connsiteY295" fmla="*/ 38100 h 1298575"/>
                <a:gd name="connsiteX296" fmla="*/ 685800 w 1270000"/>
                <a:gd name="connsiteY296" fmla="*/ 12700 h 1298575"/>
                <a:gd name="connsiteX297" fmla="*/ 584200 w 1270000"/>
                <a:gd name="connsiteY297" fmla="*/ 12700 h 1298575"/>
                <a:gd name="connsiteX298" fmla="*/ 609600 w 1270000"/>
                <a:gd name="connsiteY298" fmla="*/ 38100 h 1298575"/>
                <a:gd name="connsiteX299" fmla="*/ 584200 w 1270000"/>
                <a:gd name="connsiteY299" fmla="*/ 63500 h 1298575"/>
                <a:gd name="connsiteX300" fmla="*/ 558800 w 1270000"/>
                <a:gd name="connsiteY300" fmla="*/ 38100 h 1298575"/>
                <a:gd name="connsiteX301" fmla="*/ 584200 w 1270000"/>
                <a:gd name="connsiteY301" fmla="*/ 12700 h 1298575"/>
                <a:gd name="connsiteX302" fmla="*/ 762706 w 1270000"/>
                <a:gd name="connsiteY302" fmla="*/ 0 h 1298575"/>
                <a:gd name="connsiteX303" fmla="*/ 787400 w 1270000"/>
                <a:gd name="connsiteY303" fmla="*/ 25400 h 1298575"/>
                <a:gd name="connsiteX304" fmla="*/ 762706 w 1270000"/>
                <a:gd name="connsiteY304" fmla="*/ 50800 h 1298575"/>
                <a:gd name="connsiteX305" fmla="*/ 736600 w 1270000"/>
                <a:gd name="connsiteY305" fmla="*/ 25400 h 1298575"/>
                <a:gd name="connsiteX306" fmla="*/ 762706 w 1270000"/>
                <a:gd name="connsiteY306" fmla="*/ 0 h 1298575"/>
                <a:gd name="connsiteX307" fmla="*/ 507294 w 1270000"/>
                <a:gd name="connsiteY307" fmla="*/ 0 h 1298575"/>
                <a:gd name="connsiteX308" fmla="*/ 533400 w 1270000"/>
                <a:gd name="connsiteY308" fmla="*/ 25400 h 1298575"/>
                <a:gd name="connsiteX309" fmla="*/ 507294 w 1270000"/>
                <a:gd name="connsiteY309" fmla="*/ 50800 h 1298575"/>
                <a:gd name="connsiteX310" fmla="*/ 482600 w 1270000"/>
                <a:gd name="connsiteY310" fmla="*/ 25400 h 1298575"/>
                <a:gd name="connsiteX311" fmla="*/ 507294 w 1270000"/>
                <a:gd name="connsiteY311" fmla="*/ 0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1270000" h="1298575">
                  <a:moveTo>
                    <a:pt x="706437" y="1049337"/>
                  </a:moveTo>
                  <a:cubicBezTo>
                    <a:pt x="819907" y="1068509"/>
                    <a:pt x="908399" y="1130286"/>
                    <a:pt x="981905" y="1182122"/>
                  </a:cubicBezTo>
                  <a:cubicBezTo>
                    <a:pt x="1046847" y="1227567"/>
                    <a:pt x="1103225" y="1267332"/>
                    <a:pt x="1157462" y="1267332"/>
                  </a:cubicBezTo>
                  <a:cubicBezTo>
                    <a:pt x="1166739" y="1267332"/>
                    <a:pt x="1173162" y="1274432"/>
                    <a:pt x="1173162" y="1282953"/>
                  </a:cubicBezTo>
                  <a:cubicBezTo>
                    <a:pt x="1173162" y="1291474"/>
                    <a:pt x="1166739" y="1298575"/>
                    <a:pt x="1157462" y="1298575"/>
                  </a:cubicBezTo>
                  <a:cubicBezTo>
                    <a:pt x="1093234" y="1298575"/>
                    <a:pt x="1033287" y="1256680"/>
                    <a:pt x="963350" y="1207685"/>
                  </a:cubicBezTo>
                  <a:cubicBezTo>
                    <a:pt x="890558" y="1156559"/>
                    <a:pt x="809916" y="1099753"/>
                    <a:pt x="707865" y="1080581"/>
                  </a:cubicBezTo>
                  <a:cubicBezTo>
                    <a:pt x="707865" y="1080581"/>
                    <a:pt x="707865" y="1080581"/>
                    <a:pt x="706437" y="1049337"/>
                  </a:cubicBezTo>
                  <a:close/>
                  <a:moveTo>
                    <a:pt x="563562" y="1049337"/>
                  </a:moveTo>
                  <a:cubicBezTo>
                    <a:pt x="563562" y="1049337"/>
                    <a:pt x="563562" y="1049337"/>
                    <a:pt x="562846" y="1081291"/>
                  </a:cubicBezTo>
                  <a:cubicBezTo>
                    <a:pt x="460481" y="1100463"/>
                    <a:pt x="379592" y="1156559"/>
                    <a:pt x="307293" y="1207685"/>
                  </a:cubicBezTo>
                  <a:cubicBezTo>
                    <a:pt x="237141" y="1256680"/>
                    <a:pt x="177010" y="1298575"/>
                    <a:pt x="112585" y="1298575"/>
                  </a:cubicBezTo>
                  <a:cubicBezTo>
                    <a:pt x="103279" y="1298575"/>
                    <a:pt x="96837" y="1291474"/>
                    <a:pt x="96837" y="1282953"/>
                  </a:cubicBezTo>
                  <a:cubicBezTo>
                    <a:pt x="96837" y="1274432"/>
                    <a:pt x="103279" y="1267332"/>
                    <a:pt x="112585" y="1267332"/>
                  </a:cubicBezTo>
                  <a:cubicBezTo>
                    <a:pt x="166989" y="1267332"/>
                    <a:pt x="223540" y="1227567"/>
                    <a:pt x="288681" y="1182122"/>
                  </a:cubicBezTo>
                  <a:cubicBezTo>
                    <a:pt x="362412" y="1130286"/>
                    <a:pt x="451176" y="1068509"/>
                    <a:pt x="563562" y="1049337"/>
                  </a:cubicBezTo>
                  <a:close/>
                  <a:moveTo>
                    <a:pt x="1237456" y="927100"/>
                  </a:moveTo>
                  <a:cubicBezTo>
                    <a:pt x="1251281" y="927100"/>
                    <a:pt x="1263650" y="937683"/>
                    <a:pt x="1263650" y="952500"/>
                  </a:cubicBezTo>
                  <a:cubicBezTo>
                    <a:pt x="1263650" y="965905"/>
                    <a:pt x="1251281" y="977900"/>
                    <a:pt x="1237456" y="977900"/>
                  </a:cubicBezTo>
                  <a:cubicBezTo>
                    <a:pt x="1222904" y="977900"/>
                    <a:pt x="1211262" y="965905"/>
                    <a:pt x="1211262" y="952500"/>
                  </a:cubicBezTo>
                  <a:cubicBezTo>
                    <a:pt x="1211262" y="937683"/>
                    <a:pt x="1222904" y="927100"/>
                    <a:pt x="1237456" y="927100"/>
                  </a:cubicBezTo>
                  <a:close/>
                  <a:moveTo>
                    <a:pt x="32544" y="927100"/>
                  </a:moveTo>
                  <a:cubicBezTo>
                    <a:pt x="47096" y="927100"/>
                    <a:pt x="58738" y="937683"/>
                    <a:pt x="58738" y="952500"/>
                  </a:cubicBezTo>
                  <a:cubicBezTo>
                    <a:pt x="58738" y="965905"/>
                    <a:pt x="47096" y="977900"/>
                    <a:pt x="32544" y="977900"/>
                  </a:cubicBezTo>
                  <a:cubicBezTo>
                    <a:pt x="18719" y="977900"/>
                    <a:pt x="6350" y="965905"/>
                    <a:pt x="6350" y="952500"/>
                  </a:cubicBezTo>
                  <a:cubicBezTo>
                    <a:pt x="6350" y="937683"/>
                    <a:pt x="18719" y="927100"/>
                    <a:pt x="32544" y="927100"/>
                  </a:cubicBezTo>
                  <a:close/>
                  <a:moveTo>
                    <a:pt x="1160462" y="884237"/>
                  </a:moveTo>
                  <a:cubicBezTo>
                    <a:pt x="1173868" y="884237"/>
                    <a:pt x="1185862" y="894820"/>
                    <a:pt x="1185862" y="909637"/>
                  </a:cubicBezTo>
                  <a:cubicBezTo>
                    <a:pt x="1185862" y="923042"/>
                    <a:pt x="1173868" y="935037"/>
                    <a:pt x="1160462" y="935037"/>
                  </a:cubicBezTo>
                  <a:cubicBezTo>
                    <a:pt x="1146351" y="935037"/>
                    <a:pt x="1135062" y="923042"/>
                    <a:pt x="1135062" y="909637"/>
                  </a:cubicBezTo>
                  <a:cubicBezTo>
                    <a:pt x="1135062" y="894820"/>
                    <a:pt x="1146351" y="884237"/>
                    <a:pt x="1160462" y="884237"/>
                  </a:cubicBezTo>
                  <a:close/>
                  <a:moveTo>
                    <a:pt x="109537" y="884237"/>
                  </a:moveTo>
                  <a:cubicBezTo>
                    <a:pt x="123648" y="884237"/>
                    <a:pt x="134937" y="894820"/>
                    <a:pt x="134937" y="909637"/>
                  </a:cubicBezTo>
                  <a:cubicBezTo>
                    <a:pt x="134937" y="923042"/>
                    <a:pt x="123648" y="935037"/>
                    <a:pt x="109537" y="935037"/>
                  </a:cubicBezTo>
                  <a:cubicBezTo>
                    <a:pt x="96131" y="935037"/>
                    <a:pt x="84137" y="923042"/>
                    <a:pt x="84137" y="909637"/>
                  </a:cubicBezTo>
                  <a:cubicBezTo>
                    <a:pt x="84137" y="894820"/>
                    <a:pt x="96131" y="884237"/>
                    <a:pt x="109537" y="884237"/>
                  </a:cubicBezTo>
                  <a:close/>
                  <a:moveTo>
                    <a:pt x="925528" y="843383"/>
                  </a:moveTo>
                  <a:cubicBezTo>
                    <a:pt x="945739" y="842136"/>
                    <a:pt x="966665" y="844096"/>
                    <a:pt x="986697" y="851580"/>
                  </a:cubicBezTo>
                  <a:cubicBezTo>
                    <a:pt x="1068972" y="881515"/>
                    <a:pt x="1103313" y="988429"/>
                    <a:pt x="1103313" y="988429"/>
                  </a:cubicBezTo>
                  <a:cubicBezTo>
                    <a:pt x="1103313" y="988429"/>
                    <a:pt x="1006730" y="1046162"/>
                    <a:pt x="925170" y="1015513"/>
                  </a:cubicBezTo>
                  <a:cubicBezTo>
                    <a:pt x="883675" y="1000546"/>
                    <a:pt x="854342" y="965621"/>
                    <a:pt x="835025" y="934972"/>
                  </a:cubicBezTo>
                  <a:cubicBezTo>
                    <a:pt x="835025" y="934972"/>
                    <a:pt x="835025" y="934972"/>
                    <a:pt x="932324" y="967046"/>
                  </a:cubicBezTo>
                  <a:cubicBezTo>
                    <a:pt x="935902" y="968472"/>
                    <a:pt x="940194" y="968472"/>
                    <a:pt x="944487" y="968472"/>
                  </a:cubicBezTo>
                  <a:cubicBezTo>
                    <a:pt x="960942" y="968472"/>
                    <a:pt x="975966" y="958493"/>
                    <a:pt x="981689" y="942812"/>
                  </a:cubicBezTo>
                  <a:cubicBezTo>
                    <a:pt x="981689" y="942812"/>
                    <a:pt x="981689" y="942812"/>
                    <a:pt x="983120" y="940674"/>
                  </a:cubicBezTo>
                  <a:cubicBezTo>
                    <a:pt x="983120" y="940674"/>
                    <a:pt x="983120" y="940674"/>
                    <a:pt x="983836" y="937823"/>
                  </a:cubicBezTo>
                  <a:cubicBezTo>
                    <a:pt x="987413" y="919291"/>
                    <a:pt x="978112" y="900760"/>
                    <a:pt x="960942" y="892920"/>
                  </a:cubicBezTo>
                  <a:cubicBezTo>
                    <a:pt x="960942" y="892920"/>
                    <a:pt x="960942" y="892920"/>
                    <a:pt x="868651" y="854431"/>
                  </a:cubicBezTo>
                  <a:cubicBezTo>
                    <a:pt x="885821" y="849085"/>
                    <a:pt x="905317" y="844630"/>
                    <a:pt x="925528" y="843383"/>
                  </a:cubicBezTo>
                  <a:close/>
                  <a:moveTo>
                    <a:pt x="351885" y="843383"/>
                  </a:moveTo>
                  <a:cubicBezTo>
                    <a:pt x="372018" y="844630"/>
                    <a:pt x="391438" y="849085"/>
                    <a:pt x="408542" y="854431"/>
                  </a:cubicBezTo>
                  <a:cubicBezTo>
                    <a:pt x="408542" y="854431"/>
                    <a:pt x="408542" y="854431"/>
                    <a:pt x="314470" y="892920"/>
                  </a:cubicBezTo>
                  <a:cubicBezTo>
                    <a:pt x="314470" y="892920"/>
                    <a:pt x="314470" y="892920"/>
                    <a:pt x="313044" y="894345"/>
                  </a:cubicBezTo>
                  <a:cubicBezTo>
                    <a:pt x="297366" y="902898"/>
                    <a:pt x="289526" y="920717"/>
                    <a:pt x="293090" y="937823"/>
                  </a:cubicBezTo>
                  <a:cubicBezTo>
                    <a:pt x="293090" y="937823"/>
                    <a:pt x="293090" y="937823"/>
                    <a:pt x="293802" y="940674"/>
                  </a:cubicBezTo>
                  <a:cubicBezTo>
                    <a:pt x="293802" y="940674"/>
                    <a:pt x="293802" y="940674"/>
                    <a:pt x="294515" y="942812"/>
                  </a:cubicBezTo>
                  <a:cubicBezTo>
                    <a:pt x="300929" y="958493"/>
                    <a:pt x="315895" y="968472"/>
                    <a:pt x="332286" y="968472"/>
                  </a:cubicBezTo>
                  <a:cubicBezTo>
                    <a:pt x="336562" y="968472"/>
                    <a:pt x="340126" y="968472"/>
                    <a:pt x="344402" y="967046"/>
                  </a:cubicBezTo>
                  <a:cubicBezTo>
                    <a:pt x="344402" y="967046"/>
                    <a:pt x="344402" y="967046"/>
                    <a:pt x="441325" y="934972"/>
                  </a:cubicBezTo>
                  <a:cubicBezTo>
                    <a:pt x="422795" y="965621"/>
                    <a:pt x="393576" y="1000546"/>
                    <a:pt x="352954" y="1015513"/>
                  </a:cubicBezTo>
                  <a:cubicBezTo>
                    <a:pt x="272422" y="1046162"/>
                    <a:pt x="176212" y="988429"/>
                    <a:pt x="176212" y="988429"/>
                  </a:cubicBezTo>
                  <a:cubicBezTo>
                    <a:pt x="176212" y="988429"/>
                    <a:pt x="211133" y="881515"/>
                    <a:pt x="290952" y="851580"/>
                  </a:cubicBezTo>
                  <a:cubicBezTo>
                    <a:pt x="310906" y="844096"/>
                    <a:pt x="331752" y="842136"/>
                    <a:pt x="351885" y="843383"/>
                  </a:cubicBezTo>
                  <a:close/>
                  <a:moveTo>
                    <a:pt x="1245306" y="830262"/>
                  </a:moveTo>
                  <a:cubicBezTo>
                    <a:pt x="1258711" y="830262"/>
                    <a:pt x="1270000" y="841551"/>
                    <a:pt x="1270000" y="855662"/>
                  </a:cubicBezTo>
                  <a:cubicBezTo>
                    <a:pt x="1270000" y="869067"/>
                    <a:pt x="1258711" y="881062"/>
                    <a:pt x="1245306" y="881062"/>
                  </a:cubicBezTo>
                  <a:cubicBezTo>
                    <a:pt x="1230489" y="881062"/>
                    <a:pt x="1219200" y="869067"/>
                    <a:pt x="1219200" y="855662"/>
                  </a:cubicBezTo>
                  <a:cubicBezTo>
                    <a:pt x="1219200" y="841551"/>
                    <a:pt x="1230489" y="830262"/>
                    <a:pt x="1245306" y="830262"/>
                  </a:cubicBezTo>
                  <a:close/>
                  <a:moveTo>
                    <a:pt x="24694" y="830262"/>
                  </a:moveTo>
                  <a:cubicBezTo>
                    <a:pt x="39511" y="830262"/>
                    <a:pt x="50800" y="841551"/>
                    <a:pt x="50800" y="855662"/>
                  </a:cubicBezTo>
                  <a:cubicBezTo>
                    <a:pt x="50800" y="869067"/>
                    <a:pt x="39511" y="881062"/>
                    <a:pt x="24694" y="881062"/>
                  </a:cubicBezTo>
                  <a:cubicBezTo>
                    <a:pt x="11289" y="881062"/>
                    <a:pt x="0" y="869067"/>
                    <a:pt x="0" y="855662"/>
                  </a:cubicBezTo>
                  <a:cubicBezTo>
                    <a:pt x="0" y="841551"/>
                    <a:pt x="11289" y="830262"/>
                    <a:pt x="24694" y="830262"/>
                  </a:cubicBezTo>
                  <a:close/>
                  <a:moveTo>
                    <a:pt x="1121998" y="670836"/>
                  </a:moveTo>
                  <a:cubicBezTo>
                    <a:pt x="1132415" y="670134"/>
                    <a:pt x="1142778" y="670535"/>
                    <a:pt x="1152891" y="671739"/>
                  </a:cubicBezTo>
                  <a:cubicBezTo>
                    <a:pt x="1213571" y="678961"/>
                    <a:pt x="1265238" y="715072"/>
                    <a:pt x="1265238" y="715072"/>
                  </a:cubicBezTo>
                  <a:cubicBezTo>
                    <a:pt x="1265238" y="715072"/>
                    <a:pt x="1223940" y="820641"/>
                    <a:pt x="1142055" y="845607"/>
                  </a:cubicBezTo>
                  <a:cubicBezTo>
                    <a:pt x="1088652" y="862013"/>
                    <a:pt x="1021720" y="832054"/>
                    <a:pt x="988254" y="814935"/>
                  </a:cubicBezTo>
                  <a:cubicBezTo>
                    <a:pt x="988254" y="814935"/>
                    <a:pt x="1131374" y="769283"/>
                    <a:pt x="1123542" y="750024"/>
                  </a:cubicBezTo>
                  <a:cubicBezTo>
                    <a:pt x="1115709" y="731478"/>
                    <a:pt x="974725" y="784976"/>
                    <a:pt x="974725" y="784976"/>
                  </a:cubicBezTo>
                  <a:cubicBezTo>
                    <a:pt x="992526" y="752164"/>
                    <a:pt x="1036673" y="692247"/>
                    <a:pt x="1090788" y="676554"/>
                  </a:cubicBezTo>
                  <a:cubicBezTo>
                    <a:pt x="1101113" y="673344"/>
                    <a:pt x="1111582" y="671538"/>
                    <a:pt x="1121998" y="670836"/>
                  </a:cubicBezTo>
                  <a:close/>
                  <a:moveTo>
                    <a:pt x="148637" y="670836"/>
                  </a:moveTo>
                  <a:cubicBezTo>
                    <a:pt x="159036" y="671538"/>
                    <a:pt x="169470" y="673344"/>
                    <a:pt x="179736" y="676554"/>
                  </a:cubicBezTo>
                  <a:cubicBezTo>
                    <a:pt x="233300" y="692247"/>
                    <a:pt x="278293" y="752164"/>
                    <a:pt x="296862" y="784976"/>
                  </a:cubicBezTo>
                  <a:cubicBezTo>
                    <a:pt x="296862" y="784976"/>
                    <a:pt x="155454" y="731478"/>
                    <a:pt x="146170" y="750024"/>
                  </a:cubicBezTo>
                  <a:cubicBezTo>
                    <a:pt x="138314" y="769283"/>
                    <a:pt x="283292" y="814935"/>
                    <a:pt x="283292" y="814935"/>
                  </a:cubicBezTo>
                  <a:cubicBezTo>
                    <a:pt x="249012" y="832054"/>
                    <a:pt x="182593" y="862013"/>
                    <a:pt x="129029" y="845607"/>
                  </a:cubicBezTo>
                  <a:cubicBezTo>
                    <a:pt x="46184" y="820641"/>
                    <a:pt x="4762" y="715072"/>
                    <a:pt x="4762" y="715072"/>
                  </a:cubicBezTo>
                  <a:cubicBezTo>
                    <a:pt x="4762" y="715072"/>
                    <a:pt x="75845" y="665921"/>
                    <a:pt x="148637" y="670836"/>
                  </a:cubicBezTo>
                  <a:close/>
                  <a:moveTo>
                    <a:pt x="1240543" y="608012"/>
                  </a:moveTo>
                  <a:cubicBezTo>
                    <a:pt x="1253948" y="608012"/>
                    <a:pt x="1265237" y="619301"/>
                    <a:pt x="1265237" y="633412"/>
                  </a:cubicBezTo>
                  <a:cubicBezTo>
                    <a:pt x="1265237" y="646817"/>
                    <a:pt x="1253948" y="658812"/>
                    <a:pt x="1240543" y="658812"/>
                  </a:cubicBezTo>
                  <a:cubicBezTo>
                    <a:pt x="1225726" y="658812"/>
                    <a:pt x="1214437" y="646817"/>
                    <a:pt x="1214437" y="633412"/>
                  </a:cubicBezTo>
                  <a:cubicBezTo>
                    <a:pt x="1214437" y="619301"/>
                    <a:pt x="1225726" y="608012"/>
                    <a:pt x="1240543" y="608012"/>
                  </a:cubicBezTo>
                  <a:close/>
                  <a:moveTo>
                    <a:pt x="29456" y="608012"/>
                  </a:moveTo>
                  <a:cubicBezTo>
                    <a:pt x="44273" y="608012"/>
                    <a:pt x="55562" y="619301"/>
                    <a:pt x="55562" y="633412"/>
                  </a:cubicBezTo>
                  <a:cubicBezTo>
                    <a:pt x="55562" y="646817"/>
                    <a:pt x="44273" y="658812"/>
                    <a:pt x="29456" y="658812"/>
                  </a:cubicBezTo>
                  <a:cubicBezTo>
                    <a:pt x="16051" y="658812"/>
                    <a:pt x="4762" y="646817"/>
                    <a:pt x="4762" y="633412"/>
                  </a:cubicBezTo>
                  <a:cubicBezTo>
                    <a:pt x="4762" y="619301"/>
                    <a:pt x="16051" y="608012"/>
                    <a:pt x="29456" y="608012"/>
                  </a:cubicBezTo>
                  <a:close/>
                  <a:moveTo>
                    <a:pt x="1215593" y="470615"/>
                  </a:moveTo>
                  <a:cubicBezTo>
                    <a:pt x="1215593" y="470615"/>
                    <a:pt x="1233488" y="546375"/>
                    <a:pt x="1194835" y="592117"/>
                  </a:cubicBezTo>
                  <a:cubicBezTo>
                    <a:pt x="1171214" y="622850"/>
                    <a:pt x="1121108" y="631426"/>
                    <a:pt x="1095340" y="635000"/>
                  </a:cubicBezTo>
                  <a:cubicBezTo>
                    <a:pt x="1095340" y="635000"/>
                    <a:pt x="1159761" y="552807"/>
                    <a:pt x="1147593" y="544945"/>
                  </a:cubicBezTo>
                  <a:cubicBezTo>
                    <a:pt x="1135424" y="537083"/>
                    <a:pt x="1075298" y="623564"/>
                    <a:pt x="1075298" y="623564"/>
                  </a:cubicBezTo>
                  <a:cubicBezTo>
                    <a:pt x="1073150" y="597120"/>
                    <a:pt x="1075298" y="546375"/>
                    <a:pt x="1100350" y="516357"/>
                  </a:cubicBezTo>
                  <a:cubicBezTo>
                    <a:pt x="1137572" y="469900"/>
                    <a:pt x="1215593" y="470615"/>
                    <a:pt x="1215593" y="470615"/>
                  </a:cubicBezTo>
                  <a:close/>
                  <a:moveTo>
                    <a:pt x="46434" y="470615"/>
                  </a:moveTo>
                  <a:cubicBezTo>
                    <a:pt x="46434" y="470615"/>
                    <a:pt x="122873" y="469900"/>
                    <a:pt x="159306" y="516357"/>
                  </a:cubicBezTo>
                  <a:cubicBezTo>
                    <a:pt x="183595" y="546375"/>
                    <a:pt x="185738" y="597120"/>
                    <a:pt x="184309" y="623564"/>
                  </a:cubicBezTo>
                  <a:cubicBezTo>
                    <a:pt x="184309" y="623564"/>
                    <a:pt x="125016" y="537083"/>
                    <a:pt x="112871" y="544945"/>
                  </a:cubicBezTo>
                  <a:cubicBezTo>
                    <a:pt x="100727" y="552807"/>
                    <a:pt x="164306" y="635000"/>
                    <a:pt x="164306" y="635000"/>
                  </a:cubicBezTo>
                  <a:cubicBezTo>
                    <a:pt x="139303" y="631426"/>
                    <a:pt x="90011" y="622850"/>
                    <a:pt x="65722" y="592117"/>
                  </a:cubicBezTo>
                  <a:cubicBezTo>
                    <a:pt x="28575" y="546375"/>
                    <a:pt x="46434" y="470615"/>
                    <a:pt x="46434" y="470615"/>
                  </a:cubicBezTo>
                  <a:close/>
                  <a:moveTo>
                    <a:pt x="1017878" y="452437"/>
                  </a:moveTo>
                  <a:cubicBezTo>
                    <a:pt x="1017878" y="452437"/>
                    <a:pt x="1057275" y="592532"/>
                    <a:pt x="990658" y="682136"/>
                  </a:cubicBezTo>
                  <a:cubicBezTo>
                    <a:pt x="954843" y="730494"/>
                    <a:pt x="895389" y="754672"/>
                    <a:pt x="848112" y="766762"/>
                  </a:cubicBezTo>
                  <a:cubicBezTo>
                    <a:pt x="848112" y="766762"/>
                    <a:pt x="848112" y="766762"/>
                    <a:pt x="923325" y="655824"/>
                  </a:cubicBezTo>
                  <a:cubicBezTo>
                    <a:pt x="929772" y="646579"/>
                    <a:pt x="932637" y="634489"/>
                    <a:pt x="930488" y="623111"/>
                  </a:cubicBezTo>
                  <a:cubicBezTo>
                    <a:pt x="928339" y="611733"/>
                    <a:pt x="921176" y="601066"/>
                    <a:pt x="911148" y="594665"/>
                  </a:cubicBezTo>
                  <a:cubicBezTo>
                    <a:pt x="903984" y="589687"/>
                    <a:pt x="894672" y="586843"/>
                    <a:pt x="886077" y="586843"/>
                  </a:cubicBezTo>
                  <a:cubicBezTo>
                    <a:pt x="872467" y="586843"/>
                    <a:pt x="859573" y="593243"/>
                    <a:pt x="851694" y="603910"/>
                  </a:cubicBezTo>
                  <a:cubicBezTo>
                    <a:pt x="851694" y="603910"/>
                    <a:pt x="851694" y="603910"/>
                    <a:pt x="766452" y="709870"/>
                  </a:cubicBezTo>
                  <a:cubicBezTo>
                    <a:pt x="763587" y="661513"/>
                    <a:pt x="768601" y="597510"/>
                    <a:pt x="804417" y="547730"/>
                  </a:cubicBezTo>
                  <a:cubicBezTo>
                    <a:pt x="871034" y="458126"/>
                    <a:pt x="1017878" y="452437"/>
                    <a:pt x="1017878" y="452437"/>
                  </a:cubicBezTo>
                  <a:close/>
                  <a:moveTo>
                    <a:pt x="253592" y="452437"/>
                  </a:moveTo>
                  <a:cubicBezTo>
                    <a:pt x="253592" y="452437"/>
                    <a:pt x="399285" y="458139"/>
                    <a:pt x="465703" y="547946"/>
                  </a:cubicBezTo>
                  <a:cubicBezTo>
                    <a:pt x="502127" y="597839"/>
                    <a:pt x="506412" y="663412"/>
                    <a:pt x="503555" y="711880"/>
                  </a:cubicBezTo>
                  <a:cubicBezTo>
                    <a:pt x="503555" y="711880"/>
                    <a:pt x="503555" y="711880"/>
                    <a:pt x="417853" y="604254"/>
                  </a:cubicBezTo>
                  <a:cubicBezTo>
                    <a:pt x="409283" y="593562"/>
                    <a:pt x="396428" y="587148"/>
                    <a:pt x="382858" y="587148"/>
                  </a:cubicBezTo>
                  <a:cubicBezTo>
                    <a:pt x="374288" y="587148"/>
                    <a:pt x="365718" y="589999"/>
                    <a:pt x="358576" y="594988"/>
                  </a:cubicBezTo>
                  <a:cubicBezTo>
                    <a:pt x="347864" y="601403"/>
                    <a:pt x="341436" y="612094"/>
                    <a:pt x="338579" y="623498"/>
                  </a:cubicBezTo>
                  <a:cubicBezTo>
                    <a:pt x="336437" y="634902"/>
                    <a:pt x="339293" y="647019"/>
                    <a:pt x="345721" y="656285"/>
                  </a:cubicBezTo>
                  <a:cubicBezTo>
                    <a:pt x="345721" y="656285"/>
                    <a:pt x="345721" y="656285"/>
                    <a:pt x="419996" y="766762"/>
                  </a:cubicBezTo>
                  <a:cubicBezTo>
                    <a:pt x="373574" y="754645"/>
                    <a:pt x="315725" y="730411"/>
                    <a:pt x="280731" y="682657"/>
                  </a:cubicBezTo>
                  <a:cubicBezTo>
                    <a:pt x="214312" y="592850"/>
                    <a:pt x="253592" y="452437"/>
                    <a:pt x="253592" y="452437"/>
                  </a:cubicBezTo>
                  <a:close/>
                  <a:moveTo>
                    <a:pt x="1122720" y="379412"/>
                  </a:moveTo>
                  <a:cubicBezTo>
                    <a:pt x="1135599" y="379412"/>
                    <a:pt x="1147762" y="390701"/>
                    <a:pt x="1147762" y="404812"/>
                  </a:cubicBezTo>
                  <a:cubicBezTo>
                    <a:pt x="1147762" y="418217"/>
                    <a:pt x="1135599" y="430212"/>
                    <a:pt x="1122720" y="430212"/>
                  </a:cubicBezTo>
                  <a:cubicBezTo>
                    <a:pt x="1108410" y="430212"/>
                    <a:pt x="1096962" y="418217"/>
                    <a:pt x="1096962" y="404812"/>
                  </a:cubicBezTo>
                  <a:cubicBezTo>
                    <a:pt x="1096962" y="390701"/>
                    <a:pt x="1108410" y="379412"/>
                    <a:pt x="1122720" y="379412"/>
                  </a:cubicBezTo>
                  <a:close/>
                  <a:moveTo>
                    <a:pt x="147279" y="379412"/>
                  </a:moveTo>
                  <a:cubicBezTo>
                    <a:pt x="161589" y="379412"/>
                    <a:pt x="173037" y="390701"/>
                    <a:pt x="173037" y="404812"/>
                  </a:cubicBezTo>
                  <a:cubicBezTo>
                    <a:pt x="173037" y="418217"/>
                    <a:pt x="161589" y="430212"/>
                    <a:pt x="147279" y="430212"/>
                  </a:cubicBezTo>
                  <a:cubicBezTo>
                    <a:pt x="134400" y="430212"/>
                    <a:pt x="122237" y="418217"/>
                    <a:pt x="122237" y="404812"/>
                  </a:cubicBezTo>
                  <a:cubicBezTo>
                    <a:pt x="122237" y="390701"/>
                    <a:pt x="134400" y="379412"/>
                    <a:pt x="147279" y="379412"/>
                  </a:cubicBezTo>
                  <a:close/>
                  <a:moveTo>
                    <a:pt x="1178719" y="322262"/>
                  </a:moveTo>
                  <a:cubicBezTo>
                    <a:pt x="1193186" y="322262"/>
                    <a:pt x="1204913" y="333989"/>
                    <a:pt x="1204913" y="348456"/>
                  </a:cubicBezTo>
                  <a:cubicBezTo>
                    <a:pt x="1204913" y="362923"/>
                    <a:pt x="1193186" y="374650"/>
                    <a:pt x="1178719" y="374650"/>
                  </a:cubicBezTo>
                  <a:cubicBezTo>
                    <a:pt x="1164252" y="374650"/>
                    <a:pt x="1152525" y="362923"/>
                    <a:pt x="1152525" y="348456"/>
                  </a:cubicBezTo>
                  <a:cubicBezTo>
                    <a:pt x="1152525" y="333989"/>
                    <a:pt x="1164252" y="322262"/>
                    <a:pt x="1178719" y="322262"/>
                  </a:cubicBezTo>
                  <a:close/>
                  <a:moveTo>
                    <a:pt x="91281" y="322262"/>
                  </a:moveTo>
                  <a:cubicBezTo>
                    <a:pt x="105748" y="322262"/>
                    <a:pt x="117475" y="333989"/>
                    <a:pt x="117475" y="348456"/>
                  </a:cubicBezTo>
                  <a:cubicBezTo>
                    <a:pt x="117475" y="362923"/>
                    <a:pt x="105748" y="374650"/>
                    <a:pt x="91281" y="374650"/>
                  </a:cubicBezTo>
                  <a:cubicBezTo>
                    <a:pt x="76814" y="374650"/>
                    <a:pt x="65087" y="362923"/>
                    <a:pt x="65087" y="348456"/>
                  </a:cubicBezTo>
                  <a:cubicBezTo>
                    <a:pt x="65087" y="333989"/>
                    <a:pt x="76814" y="322262"/>
                    <a:pt x="91281" y="322262"/>
                  </a:cubicBezTo>
                  <a:close/>
                  <a:moveTo>
                    <a:pt x="358110" y="306784"/>
                  </a:moveTo>
                  <a:cubicBezTo>
                    <a:pt x="361678" y="303212"/>
                    <a:pt x="366675" y="303926"/>
                    <a:pt x="369530" y="307499"/>
                  </a:cubicBezTo>
                  <a:cubicBezTo>
                    <a:pt x="369530" y="307499"/>
                    <a:pt x="369530" y="307499"/>
                    <a:pt x="610776" y="610449"/>
                  </a:cubicBezTo>
                  <a:cubicBezTo>
                    <a:pt x="610776" y="610449"/>
                    <a:pt x="610776" y="610449"/>
                    <a:pt x="620054" y="366088"/>
                  </a:cubicBezTo>
                  <a:cubicBezTo>
                    <a:pt x="620768" y="358229"/>
                    <a:pt x="626478" y="352513"/>
                    <a:pt x="633616" y="353227"/>
                  </a:cubicBezTo>
                  <a:cubicBezTo>
                    <a:pt x="640753" y="353227"/>
                    <a:pt x="645749" y="358943"/>
                    <a:pt x="646463" y="366088"/>
                  </a:cubicBezTo>
                  <a:cubicBezTo>
                    <a:pt x="646463" y="366088"/>
                    <a:pt x="646463" y="366088"/>
                    <a:pt x="656456" y="611878"/>
                  </a:cubicBezTo>
                  <a:cubicBezTo>
                    <a:pt x="656456" y="611878"/>
                    <a:pt x="656456" y="611878"/>
                    <a:pt x="898416" y="307499"/>
                  </a:cubicBezTo>
                  <a:cubicBezTo>
                    <a:pt x="901271" y="303926"/>
                    <a:pt x="906267" y="303212"/>
                    <a:pt x="909836" y="306784"/>
                  </a:cubicBezTo>
                  <a:cubicBezTo>
                    <a:pt x="913405" y="308928"/>
                    <a:pt x="913405" y="313929"/>
                    <a:pt x="911263" y="317502"/>
                  </a:cubicBezTo>
                  <a:cubicBezTo>
                    <a:pt x="911263" y="317502"/>
                    <a:pt x="911263" y="317502"/>
                    <a:pt x="659311" y="690474"/>
                  </a:cubicBezTo>
                  <a:cubicBezTo>
                    <a:pt x="659311" y="690474"/>
                    <a:pt x="659311" y="690474"/>
                    <a:pt x="667162" y="887677"/>
                  </a:cubicBezTo>
                  <a:cubicBezTo>
                    <a:pt x="667162" y="887677"/>
                    <a:pt x="667162" y="887677"/>
                    <a:pt x="876290" y="623310"/>
                  </a:cubicBezTo>
                  <a:cubicBezTo>
                    <a:pt x="880572" y="617594"/>
                    <a:pt x="888424" y="616880"/>
                    <a:pt x="893420" y="621167"/>
                  </a:cubicBezTo>
                  <a:cubicBezTo>
                    <a:pt x="900557" y="624739"/>
                    <a:pt x="901985" y="633313"/>
                    <a:pt x="897702" y="638315"/>
                  </a:cubicBezTo>
                  <a:cubicBezTo>
                    <a:pt x="897702" y="638315"/>
                    <a:pt x="897702" y="638315"/>
                    <a:pt x="760663" y="842663"/>
                  </a:cubicBezTo>
                  <a:cubicBezTo>
                    <a:pt x="760663" y="842663"/>
                    <a:pt x="760663" y="842663"/>
                    <a:pt x="948378" y="921973"/>
                  </a:cubicBezTo>
                  <a:cubicBezTo>
                    <a:pt x="951947" y="924117"/>
                    <a:pt x="954088" y="927689"/>
                    <a:pt x="953374" y="931976"/>
                  </a:cubicBezTo>
                  <a:cubicBezTo>
                    <a:pt x="951233" y="936263"/>
                    <a:pt x="946237" y="939121"/>
                    <a:pt x="942668" y="937692"/>
                  </a:cubicBezTo>
                  <a:cubicBezTo>
                    <a:pt x="942668" y="937692"/>
                    <a:pt x="942668" y="937692"/>
                    <a:pt x="741392" y="871243"/>
                  </a:cubicBezTo>
                  <a:cubicBezTo>
                    <a:pt x="741392" y="871243"/>
                    <a:pt x="741392" y="871243"/>
                    <a:pt x="670730" y="976275"/>
                  </a:cubicBezTo>
                  <a:cubicBezTo>
                    <a:pt x="670730" y="976275"/>
                    <a:pt x="670730" y="976275"/>
                    <a:pt x="677154" y="1130609"/>
                  </a:cubicBezTo>
                  <a:cubicBezTo>
                    <a:pt x="677868" y="1154902"/>
                    <a:pt x="659311" y="1174908"/>
                    <a:pt x="635043" y="1176337"/>
                  </a:cubicBezTo>
                  <a:cubicBezTo>
                    <a:pt x="611490" y="1176337"/>
                    <a:pt x="591505" y="1158475"/>
                    <a:pt x="590077" y="1134181"/>
                  </a:cubicBezTo>
                  <a:cubicBezTo>
                    <a:pt x="590077" y="1133467"/>
                    <a:pt x="590077" y="1132038"/>
                    <a:pt x="590077" y="1130609"/>
                  </a:cubicBezTo>
                  <a:cubicBezTo>
                    <a:pt x="590077" y="1130609"/>
                    <a:pt x="590077" y="1130609"/>
                    <a:pt x="592218" y="1093455"/>
                  </a:cubicBezTo>
                  <a:cubicBezTo>
                    <a:pt x="592218" y="1093455"/>
                    <a:pt x="592218" y="1093455"/>
                    <a:pt x="596501" y="971988"/>
                  </a:cubicBezTo>
                  <a:cubicBezTo>
                    <a:pt x="596501" y="971988"/>
                    <a:pt x="596501" y="971988"/>
                    <a:pt x="530122" y="873387"/>
                  </a:cubicBezTo>
                  <a:cubicBezTo>
                    <a:pt x="530122" y="873387"/>
                    <a:pt x="530122" y="873387"/>
                    <a:pt x="335270" y="937692"/>
                  </a:cubicBezTo>
                  <a:cubicBezTo>
                    <a:pt x="330987" y="939121"/>
                    <a:pt x="326705" y="936263"/>
                    <a:pt x="324563" y="931976"/>
                  </a:cubicBezTo>
                  <a:cubicBezTo>
                    <a:pt x="323850" y="927689"/>
                    <a:pt x="325991" y="924117"/>
                    <a:pt x="329560" y="921973"/>
                  </a:cubicBezTo>
                  <a:cubicBezTo>
                    <a:pt x="329560" y="921973"/>
                    <a:pt x="329560" y="921973"/>
                    <a:pt x="511565" y="846236"/>
                  </a:cubicBezTo>
                  <a:cubicBezTo>
                    <a:pt x="511565" y="846236"/>
                    <a:pt x="511565" y="846236"/>
                    <a:pt x="372385" y="638315"/>
                  </a:cubicBezTo>
                  <a:cubicBezTo>
                    <a:pt x="368816" y="633313"/>
                    <a:pt x="370243" y="624739"/>
                    <a:pt x="376667" y="621167"/>
                  </a:cubicBezTo>
                  <a:cubicBezTo>
                    <a:pt x="382377" y="616880"/>
                    <a:pt x="389514" y="617594"/>
                    <a:pt x="393797" y="623310"/>
                  </a:cubicBezTo>
                  <a:cubicBezTo>
                    <a:pt x="393797" y="623310"/>
                    <a:pt x="393797" y="623310"/>
                    <a:pt x="600070" y="883390"/>
                  </a:cubicBezTo>
                  <a:cubicBezTo>
                    <a:pt x="600070" y="883390"/>
                    <a:pt x="600070" y="883390"/>
                    <a:pt x="607207" y="689045"/>
                  </a:cubicBezTo>
                  <a:cubicBezTo>
                    <a:pt x="607207" y="689045"/>
                    <a:pt x="607207" y="689045"/>
                    <a:pt x="356682" y="317502"/>
                  </a:cubicBezTo>
                  <a:cubicBezTo>
                    <a:pt x="354541" y="313929"/>
                    <a:pt x="354541" y="308928"/>
                    <a:pt x="358110" y="306784"/>
                  </a:cubicBezTo>
                  <a:close/>
                  <a:moveTo>
                    <a:pt x="1085850" y="296862"/>
                  </a:moveTo>
                  <a:cubicBezTo>
                    <a:pt x="1099878" y="296862"/>
                    <a:pt x="1111250" y="308234"/>
                    <a:pt x="1111250" y="322262"/>
                  </a:cubicBezTo>
                  <a:cubicBezTo>
                    <a:pt x="1111250" y="336290"/>
                    <a:pt x="1099878" y="347662"/>
                    <a:pt x="1085850" y="347662"/>
                  </a:cubicBezTo>
                  <a:cubicBezTo>
                    <a:pt x="1071822" y="347662"/>
                    <a:pt x="1060450" y="336290"/>
                    <a:pt x="1060450" y="322262"/>
                  </a:cubicBezTo>
                  <a:cubicBezTo>
                    <a:pt x="1060450" y="308234"/>
                    <a:pt x="1071822" y="296862"/>
                    <a:pt x="1085850" y="296862"/>
                  </a:cubicBezTo>
                  <a:close/>
                  <a:moveTo>
                    <a:pt x="184150" y="296862"/>
                  </a:moveTo>
                  <a:cubicBezTo>
                    <a:pt x="198178" y="296862"/>
                    <a:pt x="209550" y="308234"/>
                    <a:pt x="209550" y="322262"/>
                  </a:cubicBezTo>
                  <a:cubicBezTo>
                    <a:pt x="209550" y="336290"/>
                    <a:pt x="198178" y="347662"/>
                    <a:pt x="184150" y="347662"/>
                  </a:cubicBezTo>
                  <a:cubicBezTo>
                    <a:pt x="170122" y="347662"/>
                    <a:pt x="158750" y="336290"/>
                    <a:pt x="158750" y="322262"/>
                  </a:cubicBezTo>
                  <a:cubicBezTo>
                    <a:pt x="158750" y="308234"/>
                    <a:pt x="170122" y="296862"/>
                    <a:pt x="184150" y="296862"/>
                  </a:cubicBezTo>
                  <a:close/>
                  <a:moveTo>
                    <a:pt x="1135062" y="241300"/>
                  </a:moveTo>
                  <a:cubicBezTo>
                    <a:pt x="1149090" y="241300"/>
                    <a:pt x="1160462" y="252672"/>
                    <a:pt x="1160462" y="266700"/>
                  </a:cubicBezTo>
                  <a:cubicBezTo>
                    <a:pt x="1160462" y="280728"/>
                    <a:pt x="1149090" y="292100"/>
                    <a:pt x="1135062" y="292100"/>
                  </a:cubicBezTo>
                  <a:cubicBezTo>
                    <a:pt x="1121034" y="292100"/>
                    <a:pt x="1109662" y="280728"/>
                    <a:pt x="1109662" y="266700"/>
                  </a:cubicBezTo>
                  <a:cubicBezTo>
                    <a:pt x="1109662" y="252672"/>
                    <a:pt x="1121034" y="241300"/>
                    <a:pt x="1135062" y="241300"/>
                  </a:cubicBezTo>
                  <a:close/>
                  <a:moveTo>
                    <a:pt x="134937" y="241300"/>
                  </a:moveTo>
                  <a:cubicBezTo>
                    <a:pt x="148965" y="241300"/>
                    <a:pt x="160337" y="252672"/>
                    <a:pt x="160337" y="266700"/>
                  </a:cubicBezTo>
                  <a:cubicBezTo>
                    <a:pt x="160337" y="280728"/>
                    <a:pt x="148965" y="292100"/>
                    <a:pt x="134937" y="292100"/>
                  </a:cubicBezTo>
                  <a:cubicBezTo>
                    <a:pt x="120909" y="292100"/>
                    <a:pt x="109537" y="280728"/>
                    <a:pt x="109537" y="266700"/>
                  </a:cubicBezTo>
                  <a:cubicBezTo>
                    <a:pt x="109537" y="252672"/>
                    <a:pt x="120909" y="241300"/>
                    <a:pt x="134937" y="241300"/>
                  </a:cubicBezTo>
                  <a:close/>
                  <a:moveTo>
                    <a:pt x="1005616" y="179387"/>
                  </a:moveTo>
                  <a:cubicBezTo>
                    <a:pt x="1005616" y="179387"/>
                    <a:pt x="1035050" y="287115"/>
                    <a:pt x="983360" y="356318"/>
                  </a:cubicBezTo>
                  <a:cubicBezTo>
                    <a:pt x="957516" y="391989"/>
                    <a:pt x="915877" y="409825"/>
                    <a:pt x="880699" y="419100"/>
                  </a:cubicBezTo>
                  <a:cubicBezTo>
                    <a:pt x="880699" y="419100"/>
                    <a:pt x="880699" y="419100"/>
                    <a:pt x="938132" y="334915"/>
                  </a:cubicBezTo>
                  <a:cubicBezTo>
                    <a:pt x="938132" y="334915"/>
                    <a:pt x="938132" y="334915"/>
                    <a:pt x="938850" y="334202"/>
                  </a:cubicBezTo>
                  <a:cubicBezTo>
                    <a:pt x="949618" y="317079"/>
                    <a:pt x="946029" y="295676"/>
                    <a:pt x="930953" y="282834"/>
                  </a:cubicBezTo>
                  <a:cubicBezTo>
                    <a:pt x="923774" y="276414"/>
                    <a:pt x="914441" y="273560"/>
                    <a:pt x="905108" y="273560"/>
                  </a:cubicBezTo>
                  <a:cubicBezTo>
                    <a:pt x="892903" y="273560"/>
                    <a:pt x="881417" y="278554"/>
                    <a:pt x="874238" y="288542"/>
                  </a:cubicBezTo>
                  <a:cubicBezTo>
                    <a:pt x="874238" y="288542"/>
                    <a:pt x="874238" y="288542"/>
                    <a:pt x="810343" y="367733"/>
                  </a:cubicBezTo>
                  <a:cubicBezTo>
                    <a:pt x="809625" y="331348"/>
                    <a:pt x="814651" y="287115"/>
                    <a:pt x="840496" y="252157"/>
                  </a:cubicBezTo>
                  <a:cubicBezTo>
                    <a:pt x="892185" y="182954"/>
                    <a:pt x="1005616" y="179387"/>
                    <a:pt x="1005616" y="179387"/>
                  </a:cubicBezTo>
                  <a:close/>
                  <a:moveTo>
                    <a:pt x="263302" y="179387"/>
                  </a:moveTo>
                  <a:cubicBezTo>
                    <a:pt x="263302" y="179387"/>
                    <a:pt x="375221" y="182954"/>
                    <a:pt x="426547" y="252157"/>
                  </a:cubicBezTo>
                  <a:cubicBezTo>
                    <a:pt x="452210" y="287115"/>
                    <a:pt x="457200" y="331348"/>
                    <a:pt x="456487" y="367019"/>
                  </a:cubicBezTo>
                  <a:cubicBezTo>
                    <a:pt x="456487" y="367019"/>
                    <a:pt x="456487" y="367019"/>
                    <a:pt x="393755" y="288542"/>
                  </a:cubicBezTo>
                  <a:cubicBezTo>
                    <a:pt x="385914" y="278554"/>
                    <a:pt x="374508" y="273560"/>
                    <a:pt x="363102" y="273560"/>
                  </a:cubicBezTo>
                  <a:cubicBezTo>
                    <a:pt x="353122" y="273560"/>
                    <a:pt x="343855" y="276414"/>
                    <a:pt x="337439" y="282834"/>
                  </a:cubicBezTo>
                  <a:cubicBezTo>
                    <a:pt x="321756" y="295676"/>
                    <a:pt x="318905" y="317079"/>
                    <a:pt x="329598" y="334202"/>
                  </a:cubicBezTo>
                  <a:cubicBezTo>
                    <a:pt x="329598" y="334202"/>
                    <a:pt x="329598" y="334202"/>
                    <a:pt x="329598" y="334915"/>
                  </a:cubicBezTo>
                  <a:cubicBezTo>
                    <a:pt x="329598" y="334915"/>
                    <a:pt x="329598" y="334915"/>
                    <a:pt x="386627" y="419100"/>
                  </a:cubicBezTo>
                  <a:cubicBezTo>
                    <a:pt x="352409" y="409825"/>
                    <a:pt x="310351" y="391989"/>
                    <a:pt x="285401" y="356318"/>
                  </a:cubicBezTo>
                  <a:cubicBezTo>
                    <a:pt x="233362" y="287115"/>
                    <a:pt x="263302" y="179387"/>
                    <a:pt x="263302" y="179387"/>
                  </a:cubicBezTo>
                  <a:close/>
                  <a:moveTo>
                    <a:pt x="633056" y="117475"/>
                  </a:moveTo>
                  <a:cubicBezTo>
                    <a:pt x="633056" y="117475"/>
                    <a:pt x="755650" y="214369"/>
                    <a:pt x="755650" y="333349"/>
                  </a:cubicBezTo>
                  <a:cubicBezTo>
                    <a:pt x="755650" y="400319"/>
                    <a:pt x="716449" y="460165"/>
                    <a:pt x="682949" y="500063"/>
                  </a:cubicBezTo>
                  <a:cubicBezTo>
                    <a:pt x="682949" y="500063"/>
                    <a:pt x="682949" y="500063"/>
                    <a:pt x="677247" y="363272"/>
                  </a:cubicBezTo>
                  <a:cubicBezTo>
                    <a:pt x="677247" y="363272"/>
                    <a:pt x="677247" y="363272"/>
                    <a:pt x="677247" y="361847"/>
                  </a:cubicBezTo>
                  <a:cubicBezTo>
                    <a:pt x="674396" y="339761"/>
                    <a:pt x="656577" y="323374"/>
                    <a:pt x="635194" y="321949"/>
                  </a:cubicBezTo>
                  <a:cubicBezTo>
                    <a:pt x="633769" y="321949"/>
                    <a:pt x="633056" y="321949"/>
                    <a:pt x="631630" y="321949"/>
                  </a:cubicBezTo>
                  <a:cubicBezTo>
                    <a:pt x="608822" y="321949"/>
                    <a:pt x="589578" y="340473"/>
                    <a:pt x="588865" y="363984"/>
                  </a:cubicBezTo>
                  <a:cubicBezTo>
                    <a:pt x="588865" y="363984"/>
                    <a:pt x="588865" y="363984"/>
                    <a:pt x="583163" y="499350"/>
                  </a:cubicBezTo>
                  <a:cubicBezTo>
                    <a:pt x="549664" y="459453"/>
                    <a:pt x="511175" y="400319"/>
                    <a:pt x="511175" y="333349"/>
                  </a:cubicBezTo>
                  <a:cubicBezTo>
                    <a:pt x="511175" y="214369"/>
                    <a:pt x="633056" y="117475"/>
                    <a:pt x="633056" y="117475"/>
                  </a:cubicBezTo>
                  <a:close/>
                  <a:moveTo>
                    <a:pt x="934156" y="109537"/>
                  </a:moveTo>
                  <a:cubicBezTo>
                    <a:pt x="947561" y="109537"/>
                    <a:pt x="958850" y="120826"/>
                    <a:pt x="958850" y="134937"/>
                  </a:cubicBezTo>
                  <a:cubicBezTo>
                    <a:pt x="958850" y="149048"/>
                    <a:pt x="947561" y="160337"/>
                    <a:pt x="934156" y="160337"/>
                  </a:cubicBezTo>
                  <a:cubicBezTo>
                    <a:pt x="919339" y="160337"/>
                    <a:pt x="908050" y="149048"/>
                    <a:pt x="908050" y="134937"/>
                  </a:cubicBezTo>
                  <a:cubicBezTo>
                    <a:pt x="908050" y="120826"/>
                    <a:pt x="919339" y="109537"/>
                    <a:pt x="934156" y="109537"/>
                  </a:cubicBezTo>
                  <a:close/>
                  <a:moveTo>
                    <a:pt x="335844" y="109537"/>
                  </a:moveTo>
                  <a:cubicBezTo>
                    <a:pt x="350661" y="109537"/>
                    <a:pt x="361950" y="120826"/>
                    <a:pt x="361950" y="134937"/>
                  </a:cubicBezTo>
                  <a:cubicBezTo>
                    <a:pt x="361950" y="149048"/>
                    <a:pt x="350661" y="160337"/>
                    <a:pt x="335844" y="160337"/>
                  </a:cubicBezTo>
                  <a:cubicBezTo>
                    <a:pt x="322439" y="160337"/>
                    <a:pt x="311150" y="149048"/>
                    <a:pt x="311150" y="134937"/>
                  </a:cubicBezTo>
                  <a:cubicBezTo>
                    <a:pt x="311150" y="120826"/>
                    <a:pt x="322439" y="109537"/>
                    <a:pt x="335844" y="109537"/>
                  </a:cubicBezTo>
                  <a:close/>
                  <a:moveTo>
                    <a:pt x="1006409" y="92075"/>
                  </a:moveTo>
                  <a:cubicBezTo>
                    <a:pt x="1020233" y="92075"/>
                    <a:pt x="1031875" y="103364"/>
                    <a:pt x="1031875" y="117475"/>
                  </a:cubicBezTo>
                  <a:cubicBezTo>
                    <a:pt x="1031875" y="130880"/>
                    <a:pt x="1020233" y="142875"/>
                    <a:pt x="1006409" y="142875"/>
                  </a:cubicBezTo>
                  <a:cubicBezTo>
                    <a:pt x="991129" y="142875"/>
                    <a:pt x="979487" y="130880"/>
                    <a:pt x="979487" y="117475"/>
                  </a:cubicBezTo>
                  <a:cubicBezTo>
                    <a:pt x="979487" y="103364"/>
                    <a:pt x="991129" y="92075"/>
                    <a:pt x="1006409" y="92075"/>
                  </a:cubicBezTo>
                  <a:close/>
                  <a:moveTo>
                    <a:pt x="263591" y="92075"/>
                  </a:moveTo>
                  <a:cubicBezTo>
                    <a:pt x="278871" y="92075"/>
                    <a:pt x="290513" y="103364"/>
                    <a:pt x="290513" y="117475"/>
                  </a:cubicBezTo>
                  <a:cubicBezTo>
                    <a:pt x="290513" y="130880"/>
                    <a:pt x="278871" y="142875"/>
                    <a:pt x="263591" y="142875"/>
                  </a:cubicBezTo>
                  <a:cubicBezTo>
                    <a:pt x="249767" y="142875"/>
                    <a:pt x="238125" y="130880"/>
                    <a:pt x="238125" y="117475"/>
                  </a:cubicBezTo>
                  <a:cubicBezTo>
                    <a:pt x="238125" y="103364"/>
                    <a:pt x="249767" y="92075"/>
                    <a:pt x="263591" y="92075"/>
                  </a:cubicBezTo>
                  <a:close/>
                  <a:moveTo>
                    <a:pt x="718256" y="77787"/>
                  </a:moveTo>
                  <a:cubicBezTo>
                    <a:pt x="731661" y="77787"/>
                    <a:pt x="742950" y="89076"/>
                    <a:pt x="742950" y="103187"/>
                  </a:cubicBezTo>
                  <a:cubicBezTo>
                    <a:pt x="742950" y="116592"/>
                    <a:pt x="731661" y="128587"/>
                    <a:pt x="718256" y="128587"/>
                  </a:cubicBezTo>
                  <a:cubicBezTo>
                    <a:pt x="703439" y="128587"/>
                    <a:pt x="692150" y="116592"/>
                    <a:pt x="692150" y="103187"/>
                  </a:cubicBezTo>
                  <a:cubicBezTo>
                    <a:pt x="692150" y="89076"/>
                    <a:pt x="703439" y="77787"/>
                    <a:pt x="718256" y="77787"/>
                  </a:cubicBezTo>
                  <a:close/>
                  <a:moveTo>
                    <a:pt x="551744" y="77787"/>
                  </a:moveTo>
                  <a:cubicBezTo>
                    <a:pt x="566561" y="77787"/>
                    <a:pt x="577850" y="89076"/>
                    <a:pt x="577850" y="103187"/>
                  </a:cubicBezTo>
                  <a:cubicBezTo>
                    <a:pt x="577850" y="116592"/>
                    <a:pt x="566561" y="128587"/>
                    <a:pt x="551744" y="128587"/>
                  </a:cubicBezTo>
                  <a:cubicBezTo>
                    <a:pt x="538339" y="128587"/>
                    <a:pt x="527050" y="116592"/>
                    <a:pt x="527050" y="103187"/>
                  </a:cubicBezTo>
                  <a:cubicBezTo>
                    <a:pt x="527050" y="89076"/>
                    <a:pt x="538339" y="77787"/>
                    <a:pt x="551744" y="77787"/>
                  </a:cubicBezTo>
                  <a:close/>
                  <a:moveTo>
                    <a:pt x="863307" y="31750"/>
                  </a:moveTo>
                  <a:cubicBezTo>
                    <a:pt x="863307" y="31750"/>
                    <a:pt x="904875" y="96359"/>
                    <a:pt x="886241" y="153071"/>
                  </a:cubicBezTo>
                  <a:cubicBezTo>
                    <a:pt x="872624" y="189683"/>
                    <a:pt x="829623" y="214809"/>
                    <a:pt x="805972" y="227013"/>
                  </a:cubicBezTo>
                  <a:cubicBezTo>
                    <a:pt x="805972" y="227013"/>
                    <a:pt x="838940" y="127946"/>
                    <a:pt x="824606" y="124356"/>
                  </a:cubicBezTo>
                  <a:cubicBezTo>
                    <a:pt x="810989" y="121485"/>
                    <a:pt x="783755" y="222706"/>
                    <a:pt x="783755" y="222706"/>
                  </a:cubicBezTo>
                  <a:cubicBezTo>
                    <a:pt x="773004" y="198298"/>
                    <a:pt x="757237" y="150200"/>
                    <a:pt x="770138" y="113588"/>
                  </a:cubicBezTo>
                  <a:cubicBezTo>
                    <a:pt x="789488" y="57594"/>
                    <a:pt x="863307" y="31750"/>
                    <a:pt x="863307" y="31750"/>
                  </a:cubicBezTo>
                  <a:close/>
                  <a:moveTo>
                    <a:pt x="408126" y="31750"/>
                  </a:moveTo>
                  <a:cubicBezTo>
                    <a:pt x="408126" y="31750"/>
                    <a:pt x="481228" y="57594"/>
                    <a:pt x="500579" y="113588"/>
                  </a:cubicBezTo>
                  <a:cubicBezTo>
                    <a:pt x="512763" y="150200"/>
                    <a:pt x="497712" y="198298"/>
                    <a:pt x="486962" y="222706"/>
                  </a:cubicBezTo>
                  <a:cubicBezTo>
                    <a:pt x="486962" y="222706"/>
                    <a:pt x="459011" y="121485"/>
                    <a:pt x="445394" y="124356"/>
                  </a:cubicBezTo>
                  <a:cubicBezTo>
                    <a:pt x="431060" y="127946"/>
                    <a:pt x="464028" y="227013"/>
                    <a:pt x="464028" y="227013"/>
                  </a:cubicBezTo>
                  <a:cubicBezTo>
                    <a:pt x="441094" y="214809"/>
                    <a:pt x="396659" y="189683"/>
                    <a:pt x="384475" y="153071"/>
                  </a:cubicBezTo>
                  <a:cubicBezTo>
                    <a:pt x="365125" y="96359"/>
                    <a:pt x="408126" y="31750"/>
                    <a:pt x="408126" y="31750"/>
                  </a:cubicBezTo>
                  <a:close/>
                  <a:moveTo>
                    <a:pt x="685800" y="12700"/>
                  </a:moveTo>
                  <a:cubicBezTo>
                    <a:pt x="699828" y="12700"/>
                    <a:pt x="711200" y="24072"/>
                    <a:pt x="711200" y="38100"/>
                  </a:cubicBezTo>
                  <a:cubicBezTo>
                    <a:pt x="711200" y="52128"/>
                    <a:pt x="699828" y="63500"/>
                    <a:pt x="685800" y="63500"/>
                  </a:cubicBezTo>
                  <a:cubicBezTo>
                    <a:pt x="671772" y="63500"/>
                    <a:pt x="660400" y="52128"/>
                    <a:pt x="660400" y="38100"/>
                  </a:cubicBezTo>
                  <a:cubicBezTo>
                    <a:pt x="660400" y="24072"/>
                    <a:pt x="671772" y="12700"/>
                    <a:pt x="685800" y="12700"/>
                  </a:cubicBezTo>
                  <a:close/>
                  <a:moveTo>
                    <a:pt x="584200" y="12700"/>
                  </a:moveTo>
                  <a:cubicBezTo>
                    <a:pt x="598228" y="12700"/>
                    <a:pt x="609600" y="24072"/>
                    <a:pt x="609600" y="38100"/>
                  </a:cubicBezTo>
                  <a:cubicBezTo>
                    <a:pt x="609600" y="52128"/>
                    <a:pt x="598228" y="63500"/>
                    <a:pt x="584200" y="63500"/>
                  </a:cubicBezTo>
                  <a:cubicBezTo>
                    <a:pt x="570172" y="63500"/>
                    <a:pt x="558800" y="52128"/>
                    <a:pt x="558800" y="38100"/>
                  </a:cubicBezTo>
                  <a:cubicBezTo>
                    <a:pt x="558800" y="24072"/>
                    <a:pt x="570172" y="12700"/>
                    <a:pt x="584200" y="12700"/>
                  </a:cubicBezTo>
                  <a:close/>
                  <a:moveTo>
                    <a:pt x="762706" y="0"/>
                  </a:moveTo>
                  <a:cubicBezTo>
                    <a:pt x="776111" y="0"/>
                    <a:pt x="787400" y="11289"/>
                    <a:pt x="787400" y="25400"/>
                  </a:cubicBezTo>
                  <a:cubicBezTo>
                    <a:pt x="787400" y="38805"/>
                    <a:pt x="776111" y="50800"/>
                    <a:pt x="762706" y="50800"/>
                  </a:cubicBezTo>
                  <a:cubicBezTo>
                    <a:pt x="747889" y="50800"/>
                    <a:pt x="736600" y="38805"/>
                    <a:pt x="736600" y="25400"/>
                  </a:cubicBezTo>
                  <a:cubicBezTo>
                    <a:pt x="736600" y="11289"/>
                    <a:pt x="747889" y="0"/>
                    <a:pt x="762706" y="0"/>
                  </a:cubicBezTo>
                  <a:close/>
                  <a:moveTo>
                    <a:pt x="507294" y="0"/>
                  </a:moveTo>
                  <a:cubicBezTo>
                    <a:pt x="522111" y="0"/>
                    <a:pt x="533400" y="11289"/>
                    <a:pt x="533400" y="25400"/>
                  </a:cubicBezTo>
                  <a:cubicBezTo>
                    <a:pt x="533400" y="38805"/>
                    <a:pt x="522111" y="50800"/>
                    <a:pt x="507294" y="50800"/>
                  </a:cubicBezTo>
                  <a:cubicBezTo>
                    <a:pt x="493889" y="50800"/>
                    <a:pt x="482600" y="38805"/>
                    <a:pt x="482600" y="25400"/>
                  </a:cubicBezTo>
                  <a:cubicBezTo>
                    <a:pt x="482600" y="11289"/>
                    <a:pt x="493889" y="0"/>
                    <a:pt x="5072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6616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3242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0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ing</a:t>
            </a:r>
          </a:p>
        </p:txBody>
      </p:sp>
      <p:sp>
        <p:nvSpPr>
          <p:cNvPr id="5" name="TextBox 4"/>
          <p:cNvSpPr txBox="1"/>
          <p:nvPr/>
        </p:nvSpPr>
        <p:spPr>
          <a:xfrm>
            <a:off x="299494" y="1645760"/>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rop Features</a:t>
            </a:r>
          </a:p>
          <a:p>
            <a:pPr marL="742950" lvl="1" indent="-285750">
              <a:buFont typeface="Arial" panose="020B0604020202020204" pitchFamily="34" charset="0"/>
              <a:buChar char="•"/>
            </a:pPr>
            <a:r>
              <a:rPr lang="en-US" dirty="0">
                <a:solidFill>
                  <a:srgbClr val="575757"/>
                </a:solidFill>
              </a:rPr>
              <a:t>Unimportant</a:t>
            </a:r>
          </a:p>
          <a:p>
            <a:pPr marL="742950" lvl="1" indent="-285750">
              <a:buFont typeface="Arial" panose="020B0604020202020204" pitchFamily="34" charset="0"/>
              <a:buChar char="•"/>
            </a:pPr>
            <a:r>
              <a:rPr lang="en-US" dirty="0">
                <a:solidFill>
                  <a:srgbClr val="575757"/>
                </a:solidFill>
              </a:rPr>
              <a:t>Highly correlated</a:t>
            </a:r>
          </a:p>
          <a:p>
            <a:pPr algn="ctr"/>
            <a:endParaRPr lang="en-US" dirty="0">
              <a:solidFill>
                <a:srgbClr val="575757"/>
              </a:solidFill>
            </a:endParaRPr>
          </a:p>
        </p:txBody>
      </p:sp>
      <p:pic>
        <p:nvPicPr>
          <p:cNvPr id="101393" name="Picture 17" descr="https://lh6.googleusercontent.com/oy_1OmALnAqmW4Oq_S7AmHgtUvkCdEYZSU5W0XKStXfeEJNSgxf0TCK_wPmRUYwxthQz5tw6F36Di0ug5HeQ6kmVNtO8MkY4prRbUloWyIRz3fsgkw115OfKiu-MBGvTrx0tyzXI3v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41033" y="1516544"/>
            <a:ext cx="8220075" cy="143827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99494" y="2784541"/>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Remove Null Values</a:t>
            </a:r>
          </a:p>
          <a:p>
            <a:pPr algn="ctr"/>
            <a:endParaRPr lang="en-US" dirty="0">
              <a:solidFill>
                <a:srgbClr val="575757"/>
              </a:solidFill>
            </a:endParaRPr>
          </a:p>
        </p:txBody>
      </p:sp>
      <p:pic>
        <p:nvPicPr>
          <p:cNvPr id="10" name="Picture 13" descr="https://lh3.googleusercontent.com/JgW_6Jo_Ip4f2w8RHtKdKR4M28ZisvBMZ__XQGmvsF19D2RQiTMk1bxi1MRAROheYOu3Pual0dCDAebNxpafRlYXLMo9hwOQHgaHg8KJkh0TWytIOblIkhbiCIoXXob_2WKoPk90m1I"/>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1033" y="2954820"/>
            <a:ext cx="3847886" cy="4228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5" descr="https://lh6.googleusercontent.com/bBPg8WhcYpXgWXz-3XsF0FAGo2CGkCk33MMiDt7GJWExFGf7oaO5HPOIvwmva-sHetSYlD4hxLELLK72F8c-EDbw4xZGO-jT3EwAhGY19CLd0-IToA8KMnmoNldSDlz5XPyUFIPJc-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67914" y="2954820"/>
            <a:ext cx="2582384" cy="3386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29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9948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6"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Train Data</a:t>
            </a:r>
          </a:p>
        </p:txBody>
      </p:sp>
      <p:pic>
        <p:nvPicPr>
          <p:cNvPr id="102418" name="Picture 18" descr="https://lh6.googleusercontent.com/HJZZPW-ZrZ0k_XAhlSyoximaJI5Oka3JyRVZj_h4gkafHjroS4ski2aHow4E2eQBh_tkTCXGIDs5z1M6jcRvB9gQkJw6clegAMD_xV48buC5XotdOJ6WyxcGB1S_xHbyuM6lUcqvwJ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08198" y="3707998"/>
            <a:ext cx="8115300" cy="447675"/>
          </a:xfrm>
          <a:prstGeom prst="rect">
            <a:avLst/>
          </a:prstGeom>
          <a:noFill/>
          <a:extLst>
            <a:ext uri="{909E8E84-426E-40DD-AFC4-6F175D3DCCD1}">
              <a14:hiddenFill xmlns:a14="http://schemas.microsoft.com/office/drawing/2010/main">
                <a:solidFill>
                  <a:srgbClr val="FFFFFF"/>
                </a:solidFill>
              </a14:hiddenFill>
            </a:ext>
          </a:extLst>
        </p:spPr>
      </p:pic>
      <p:pic>
        <p:nvPicPr>
          <p:cNvPr id="102417" name="Picture 17" descr="https://lh5.googleusercontent.com/BXA0e-OwsR9ocGGOqU8zgqYP72ix_0YKLup3lhZ6srfaaWmiNwninbMBouSjvRv3cq98ncKqfhXmiTP6lgyWDIyH0JcMQLfpd131diXELTXbX4TSnnuqc_K9vkR2jDA756UDaL79yrY"/>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08198" y="2164948"/>
            <a:ext cx="8181975" cy="1543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06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6264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6"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Random Forest</a:t>
            </a:r>
          </a:p>
        </p:txBody>
      </p:sp>
      <p:pic>
        <p:nvPicPr>
          <p:cNvPr id="113667" name="Picture 3" descr="https://lh4.googleusercontent.com/zsMEd9sL23-x0LgJ-anSw3M--eKzOoyyobx1iCqD4yWbAjCIi__U6Vn19zgQYZv2Rrg5-OainRsBDY2YjPTtZnl4A0SorUDrbxXnTHmVGSUtZ7K4WDoXoe4ULTH9pU83Yi1fi934wUI"/>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494" y="1713314"/>
            <a:ext cx="6134100" cy="376237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041266" y="1713314"/>
            <a:ext cx="6096000" cy="892552"/>
          </a:xfrm>
          <a:prstGeom prst="rect">
            <a:avLst/>
          </a:prstGeom>
        </p:spPr>
        <p:txBody>
          <a:bodyPr>
            <a:spAutoFit/>
          </a:bodyPr>
          <a:lstStyle/>
          <a:p>
            <a:r>
              <a:rPr lang="en-US" sz="1600" dirty="0">
                <a:solidFill>
                  <a:schemeClr val="tx2">
                    <a:lumMod val="100000"/>
                  </a:schemeClr>
                </a:solidFill>
                <a:latin typeface="+mj-lt"/>
                <a:ea typeface="+mj-ea"/>
                <a:cs typeface="+mj-cs"/>
                <a:sym typeface="Trebuchet MS" panose="020B0603020202020204" pitchFamily="34" charset="0"/>
              </a:rPr>
              <a:t>Accuracy: 86%</a:t>
            </a:r>
          </a:p>
          <a:p>
            <a:br>
              <a:rPr lang="en-US" dirty="0"/>
            </a:br>
            <a:endParaRPr lang="en-US" dirty="0"/>
          </a:p>
        </p:txBody>
      </p:sp>
    </p:spTree>
    <p:extLst>
      <p:ext uri="{BB962C8B-B14F-4D97-AF65-F5344CB8AC3E}">
        <p14:creationId xmlns:p14="http://schemas.microsoft.com/office/powerpoint/2010/main" val="3433087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8939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02"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Women's Tournaments</a:t>
            </a:r>
          </a:p>
        </p:txBody>
      </p:sp>
      <p:pic>
        <p:nvPicPr>
          <p:cNvPr id="114690" name="Picture 2" descr="https://lh4.googleusercontent.com/EEL5idxghaPiF4ulBkR7Llw8lCt-1hUPoYbaQLOBcu9Z9oMUEZ7X4gsd8lXCgUY_KuwK7o2wqyEVxN-IMtInkgsuLQ4ecwwK7dsmxQn1f-nIo4ny4rxDdyF9j8-W_anAyfQIwFJj_O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85976" y="1620977"/>
            <a:ext cx="2741427" cy="2193142"/>
          </a:xfrm>
          <a:prstGeom prst="rect">
            <a:avLst/>
          </a:prstGeom>
          <a:noFill/>
          <a:extLst>
            <a:ext uri="{909E8E84-426E-40DD-AFC4-6F175D3DCCD1}">
              <a14:hiddenFill xmlns:a14="http://schemas.microsoft.com/office/drawing/2010/main">
                <a:solidFill>
                  <a:srgbClr val="FFFFFF"/>
                </a:solidFill>
              </a14:hiddenFill>
            </a:ext>
          </a:extLst>
        </p:spPr>
      </p:pic>
      <p:pic>
        <p:nvPicPr>
          <p:cNvPr id="114692" name="Picture 4" descr="https://lh3.googleusercontent.com/SfsN8YSl7HTm8mBEiA8cANlV-XqXbl3q0_6FBRQGN9N4XcKXFuiajkgaahtygj2jKN1_GA1cfMJMVwcj4yC2P7oOcLzdvTKohCVneQCdMm0bO2bmRtH7o7aj5q-e0f5EKeWj9h8aQVQ"/>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67818" y="1620977"/>
            <a:ext cx="6708212" cy="3849864"/>
          </a:xfrm>
          <a:prstGeom prst="rect">
            <a:avLst/>
          </a:prstGeom>
          <a:noFill/>
          <a:extLst>
            <a:ext uri="{909E8E84-426E-40DD-AFC4-6F175D3DCCD1}">
              <a14:hiddenFill xmlns:a14="http://schemas.microsoft.com/office/drawing/2010/main">
                <a:solidFill>
                  <a:srgbClr val="FFFFFF"/>
                </a:solidFill>
              </a14:hiddenFill>
            </a:ext>
          </a:extLst>
        </p:spPr>
      </p:pic>
      <p:pic>
        <p:nvPicPr>
          <p:cNvPr id="114694" name="Picture 6" descr="https://lh6.googleusercontent.com/BLT5yPxO95ay93VPGj0H7dq1aQihvmJWhO3tgpLyqZIqh-0CRUdJtRvwOURV1xggWrjnSKeLw_qxI4aPJgK00vh0dUn5g5tZHtGfgqPFknD35p0N9xeqjc99z6bkYdZzXBfL0Zqghxc"/>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74010" y="3871993"/>
            <a:ext cx="2753393" cy="2576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0468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hieY.SGRiWv99Pe6ivQ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it5jHA5R7OgNvPr6ZFz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62</TotalTime>
  <Words>518</Words>
  <Application>Microsoft Office PowerPoint</Application>
  <PresentationFormat>Widescreen</PresentationFormat>
  <Paragraphs>115</Paragraphs>
  <Slides>20</Slides>
  <Notes>12</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25" baseType="lpstr">
      <vt:lpstr>Arial</vt:lpstr>
      <vt:lpstr>Trebuchet MS</vt:lpstr>
      <vt:lpstr>BCG Grid 16:9</vt:lpstr>
      <vt:lpstr>think-cell Slide</vt:lpstr>
      <vt:lpstr>Machine Learning Project: Tennis Analysis</vt:lpstr>
      <vt:lpstr>Agenda</vt:lpstr>
      <vt:lpstr>ETL Process </vt:lpstr>
      <vt:lpstr>Pandas Profiling</vt:lpstr>
      <vt:lpstr>Random Forest</vt:lpstr>
      <vt:lpstr>Data Cleaning</vt:lpstr>
      <vt:lpstr>Train Data</vt:lpstr>
      <vt:lpstr>Random Forest</vt:lpstr>
      <vt:lpstr>Feature Importance in Women's Tournaments</vt:lpstr>
      <vt:lpstr>Feature Importance in ATP Tournaments</vt:lpstr>
      <vt:lpstr>Feature Importance in ATP Tournaments</vt:lpstr>
      <vt:lpstr>Winning Probability: GS vs. Non-GS </vt:lpstr>
      <vt:lpstr>Predicting Point End Using Tracking Data </vt:lpstr>
      <vt:lpstr>Predicting Point Ending Using Tracking Data (Harish)</vt:lpstr>
      <vt:lpstr>Predicting Point Ending Using Tracking Data (Harish)</vt:lpstr>
      <vt:lpstr>Clustering</vt:lpstr>
      <vt:lpstr>Data Cleanup (Alteryx)</vt:lpstr>
      <vt:lpstr>Clustering</vt:lpstr>
      <vt:lpstr>Playstyles</vt:lpstr>
      <vt:lpstr>Conclusion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Cy Edmonds</cp:lastModifiedBy>
  <cp:revision>28</cp:revision>
  <cp:lastPrinted>2016-04-06T18:59:25Z</cp:lastPrinted>
  <dcterms:created xsi:type="dcterms:W3CDTF">2019-08-05T15:31:24Z</dcterms:created>
  <dcterms:modified xsi:type="dcterms:W3CDTF">2019-08-08T22:1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